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26"/>
  </p:notesMasterIdLst>
  <p:handoutMasterIdLst>
    <p:handoutMasterId r:id="rId27"/>
  </p:handoutMasterIdLst>
  <p:sldIdLst>
    <p:sldId id="2145705560" r:id="rId2"/>
    <p:sldId id="2145705569" r:id="rId3"/>
    <p:sldId id="2145705561" r:id="rId4"/>
    <p:sldId id="2145705571" r:id="rId5"/>
    <p:sldId id="2145705573" r:id="rId6"/>
    <p:sldId id="2145705574" r:id="rId7"/>
    <p:sldId id="2145705575" r:id="rId8"/>
    <p:sldId id="2145705587" r:id="rId9"/>
    <p:sldId id="2145705576" r:id="rId10"/>
    <p:sldId id="2145705588" r:id="rId11"/>
    <p:sldId id="2145705577" r:id="rId12"/>
    <p:sldId id="2145705578" r:id="rId13"/>
    <p:sldId id="2145705579" r:id="rId14"/>
    <p:sldId id="2145705580" r:id="rId15"/>
    <p:sldId id="2145705581" r:id="rId16"/>
    <p:sldId id="2145705582" r:id="rId17"/>
    <p:sldId id="2145705570" r:id="rId18"/>
    <p:sldId id="2145705563" r:id="rId19"/>
    <p:sldId id="2145705564" r:id="rId20"/>
    <p:sldId id="2145705568" r:id="rId21"/>
    <p:sldId id="2145705566" r:id="rId22"/>
    <p:sldId id="2145705567" r:id="rId23"/>
    <p:sldId id="2145705572" r:id="rId24"/>
    <p:sldId id="2145705589" r:id="rId25"/>
  </p:sldIdLst>
  <p:sldSz cx="12192000" cy="6858000"/>
  <p:notesSz cx="7010400" cy="9296400"/>
  <p:embeddedFontLst>
    <p:embeddedFont>
      <p:font typeface="PTCRaleway" panose="020B0503030101060003" pitchFamily="34" charset="0"/>
      <p:regular r:id="rId28"/>
      <p:bold r:id="rId29"/>
      <p:italic r:id="rId30"/>
      <p:boldItalic r:id="rId31"/>
    </p:embeddedFont>
    <p:embeddedFont>
      <p:font typeface="PTCRaleway Black" panose="020B0A03030101060003" pitchFamily="34" charset="0"/>
      <p:bold r:id="rId32"/>
      <p:boldItalic r:id="rId33"/>
    </p:embeddedFont>
  </p:embeddedFontLst>
  <p:defaultTextStyle>
    <a:defPPr>
      <a:defRPr lang="en-US"/>
    </a:defPPr>
    <a:lvl1pPr marL="0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54338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086775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163016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2173551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271693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3260326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380371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4347102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8" orient="horz" pos="935" userDrawn="1">
          <p15:clr>
            <a:srgbClr val="A4A3A4"/>
          </p15:clr>
        </p15:guide>
        <p15:guide id="23" orient="horz" pos="600" userDrawn="1">
          <p15:clr>
            <a:srgbClr val="A4A3A4"/>
          </p15:clr>
        </p15:guide>
        <p15:guide id="26" pos="312" userDrawn="1">
          <p15:clr>
            <a:srgbClr val="A4A3A4"/>
          </p15:clr>
        </p15:guide>
        <p15:guide id="27" pos="7368" userDrawn="1">
          <p15:clr>
            <a:srgbClr val="A4A3A4"/>
          </p15:clr>
        </p15:guide>
        <p15:guide id="28" orient="horz" pos="4104" userDrawn="1">
          <p15:clr>
            <a:srgbClr val="A4A3A4"/>
          </p15:clr>
        </p15:guide>
        <p15:guide id="29" orient="horz" pos="124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189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12C3A"/>
    <a:srgbClr val="33A13C"/>
    <a:srgbClr val="C37729"/>
    <a:srgbClr val="197BC0"/>
    <a:srgbClr val="F0F2F6"/>
    <a:srgbClr val="6CC04A"/>
    <a:srgbClr val="40AA2B"/>
    <a:srgbClr val="3D4647"/>
    <a:srgbClr val="AA9103"/>
    <a:srgbClr val="12581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CFFDC90-380E-44A1-8770-9B3D799A835E}" v="239" dt="2023-12-12T21:21:42.94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934" autoAdjust="0"/>
    <p:restoredTop sz="93275" autoAdjust="0"/>
  </p:normalViewPr>
  <p:slideViewPr>
    <p:cSldViewPr snapToGrid="0" snapToObjects="1">
      <p:cViewPr varScale="1">
        <p:scale>
          <a:sx n="129" d="100"/>
          <a:sy n="129" d="100"/>
        </p:scale>
        <p:origin x="258" y="120"/>
      </p:cViewPr>
      <p:guideLst>
        <p:guide orient="horz" pos="935"/>
        <p:guide orient="horz" pos="600"/>
        <p:guide pos="312"/>
        <p:guide pos="7368"/>
        <p:guide orient="horz" pos="4104"/>
        <p:guide orient="horz" pos="124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83" d="100"/>
          <a:sy n="83" d="100"/>
        </p:scale>
        <p:origin x="3810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9" Type="http://schemas.microsoft.com/office/2016/11/relationships/changesInfo" Target="changesInfos/changesInfo1.xml"/><Relationship Id="rId21" Type="http://schemas.openxmlformats.org/officeDocument/2006/relationships/slide" Target="slides/slide20.xml"/><Relationship Id="rId34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6.fntdata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font" Target="fonts/font2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5.fntdata"/><Relationship Id="rId37" Type="http://schemas.openxmlformats.org/officeDocument/2006/relationships/theme" Target="theme/theme1.xml"/><Relationship Id="rId40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font" Target="fonts/font1.fntdata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4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font" Target="fonts/font3.fntdata"/><Relationship Id="rId35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istey, John" userId="332565b3-ba65-4c97-b7a2-fe0308b1bf99" providerId="ADAL" clId="{8CFFDC90-380E-44A1-8770-9B3D799A835E}"/>
    <pc:docChg chg="undo custSel addSld delSld modSld sldOrd">
      <pc:chgData name="Ristey, John" userId="332565b3-ba65-4c97-b7a2-fe0308b1bf99" providerId="ADAL" clId="{8CFFDC90-380E-44A1-8770-9B3D799A835E}" dt="2023-12-11T22:16:04.284" v="1562" actId="1076"/>
      <pc:docMkLst>
        <pc:docMk/>
      </pc:docMkLst>
      <pc:sldChg chg="modSp mod">
        <pc:chgData name="Ristey, John" userId="332565b3-ba65-4c97-b7a2-fe0308b1bf99" providerId="ADAL" clId="{8CFFDC90-380E-44A1-8770-9B3D799A835E}" dt="2023-12-11T14:59:38.409" v="63" actId="20577"/>
        <pc:sldMkLst>
          <pc:docMk/>
          <pc:sldMk cId="792058334" sldId="2145705560"/>
        </pc:sldMkLst>
        <pc:spChg chg="mod">
          <ac:chgData name="Ristey, John" userId="332565b3-ba65-4c97-b7a2-fe0308b1bf99" providerId="ADAL" clId="{8CFFDC90-380E-44A1-8770-9B3D799A835E}" dt="2023-12-11T14:59:38.409" v="63" actId="20577"/>
          <ac:spMkLst>
            <pc:docMk/>
            <pc:sldMk cId="792058334" sldId="2145705560"/>
            <ac:spMk id="3" creationId="{D4C9B7F8-F06F-4E9B-95B5-B05974962BF0}"/>
          </ac:spMkLst>
        </pc:spChg>
        <pc:spChg chg="mod">
          <ac:chgData name="Ristey, John" userId="332565b3-ba65-4c97-b7a2-fe0308b1bf99" providerId="ADAL" clId="{8CFFDC90-380E-44A1-8770-9B3D799A835E}" dt="2023-12-11T14:59:28.186" v="50" actId="20577"/>
          <ac:spMkLst>
            <pc:docMk/>
            <pc:sldMk cId="792058334" sldId="2145705560"/>
            <ac:spMk id="4" creationId="{1662E55D-4D82-4AC6-B19F-54FFC4102C35}"/>
          </ac:spMkLst>
        </pc:spChg>
      </pc:sldChg>
      <pc:sldChg chg="modSp mod ord">
        <pc:chgData name="Ristey, John" userId="332565b3-ba65-4c97-b7a2-fe0308b1bf99" providerId="ADAL" clId="{8CFFDC90-380E-44A1-8770-9B3D799A835E}" dt="2023-12-11T15:07:02.687" v="478" actId="20577"/>
        <pc:sldMkLst>
          <pc:docMk/>
          <pc:sldMk cId="2494607175" sldId="2145705561"/>
        </pc:sldMkLst>
        <pc:spChg chg="mod">
          <ac:chgData name="Ristey, John" userId="332565b3-ba65-4c97-b7a2-fe0308b1bf99" providerId="ADAL" clId="{8CFFDC90-380E-44A1-8770-9B3D799A835E}" dt="2023-12-11T15:07:02.687" v="478" actId="20577"/>
          <ac:spMkLst>
            <pc:docMk/>
            <pc:sldMk cId="2494607175" sldId="2145705561"/>
            <ac:spMk id="2" creationId="{5A69EDC0-3C65-40B5-B8A9-6EF8B4FD016B}"/>
          </ac:spMkLst>
        </pc:spChg>
        <pc:spChg chg="mod">
          <ac:chgData name="Ristey, John" userId="332565b3-ba65-4c97-b7a2-fe0308b1bf99" providerId="ADAL" clId="{8CFFDC90-380E-44A1-8770-9B3D799A835E}" dt="2023-12-11T15:01:12.814" v="124" actId="20577"/>
          <ac:spMkLst>
            <pc:docMk/>
            <pc:sldMk cId="2494607175" sldId="2145705561"/>
            <ac:spMk id="3" creationId="{E9B2AEBE-D674-4C81-8E2E-5D3382699696}"/>
          </ac:spMkLst>
        </pc:spChg>
      </pc:sldChg>
      <pc:sldChg chg="del">
        <pc:chgData name="Ristey, John" userId="332565b3-ba65-4c97-b7a2-fe0308b1bf99" providerId="ADAL" clId="{8CFFDC90-380E-44A1-8770-9B3D799A835E}" dt="2023-12-11T15:07:23.796" v="479" actId="47"/>
        <pc:sldMkLst>
          <pc:docMk/>
          <pc:sldMk cId="2528724995" sldId="2145705562"/>
        </pc:sldMkLst>
      </pc:sldChg>
      <pc:sldChg chg="addSp modSp mod">
        <pc:chgData name="Ristey, John" userId="332565b3-ba65-4c97-b7a2-fe0308b1bf99" providerId="ADAL" clId="{8CFFDC90-380E-44A1-8770-9B3D799A835E}" dt="2023-12-11T15:16:13.808" v="507" actId="20577"/>
        <pc:sldMkLst>
          <pc:docMk/>
          <pc:sldMk cId="3731973321" sldId="2145705563"/>
        </pc:sldMkLst>
        <pc:spChg chg="add mod">
          <ac:chgData name="Ristey, John" userId="332565b3-ba65-4c97-b7a2-fe0308b1bf99" providerId="ADAL" clId="{8CFFDC90-380E-44A1-8770-9B3D799A835E}" dt="2023-12-11T15:16:13.808" v="507" actId="20577"/>
          <ac:spMkLst>
            <pc:docMk/>
            <pc:sldMk cId="3731973321" sldId="2145705563"/>
            <ac:spMk id="2" creationId="{903577A8-86BB-BF83-B74F-47FE62AE7F05}"/>
          </ac:spMkLst>
        </pc:spChg>
        <pc:spChg chg="mod">
          <ac:chgData name="Ristey, John" userId="332565b3-ba65-4c97-b7a2-fe0308b1bf99" providerId="ADAL" clId="{8CFFDC90-380E-44A1-8770-9B3D799A835E}" dt="2023-12-11T15:15:35.267" v="482" actId="1076"/>
          <ac:spMkLst>
            <pc:docMk/>
            <pc:sldMk cId="3731973321" sldId="2145705563"/>
            <ac:spMk id="4" creationId="{09EDA75C-9DAB-4597-8214-F0E95FFFFF5E}"/>
          </ac:spMkLst>
        </pc:spChg>
      </pc:sldChg>
      <pc:sldChg chg="modSp mod">
        <pc:chgData name="Ristey, John" userId="332565b3-ba65-4c97-b7a2-fe0308b1bf99" providerId="ADAL" clId="{8CFFDC90-380E-44A1-8770-9B3D799A835E}" dt="2023-12-11T15:17:34.892" v="520" actId="20577"/>
        <pc:sldMkLst>
          <pc:docMk/>
          <pc:sldMk cId="2786135272" sldId="2145705564"/>
        </pc:sldMkLst>
        <pc:spChg chg="mod">
          <ac:chgData name="Ristey, John" userId="332565b3-ba65-4c97-b7a2-fe0308b1bf99" providerId="ADAL" clId="{8CFFDC90-380E-44A1-8770-9B3D799A835E}" dt="2023-12-11T15:17:34.892" v="520" actId="20577"/>
          <ac:spMkLst>
            <pc:docMk/>
            <pc:sldMk cId="2786135272" sldId="2145705564"/>
            <ac:spMk id="2" creationId="{D5CB9019-D080-467D-924D-597B612B5706}"/>
          </ac:spMkLst>
        </pc:spChg>
      </pc:sldChg>
      <pc:sldChg chg="del">
        <pc:chgData name="Ristey, John" userId="332565b3-ba65-4c97-b7a2-fe0308b1bf99" providerId="ADAL" clId="{8CFFDC90-380E-44A1-8770-9B3D799A835E}" dt="2023-12-11T15:17:39.389" v="521" actId="47"/>
        <pc:sldMkLst>
          <pc:docMk/>
          <pc:sldMk cId="675011035" sldId="2145705565"/>
        </pc:sldMkLst>
      </pc:sldChg>
      <pc:sldChg chg="modSp new mod">
        <pc:chgData name="Ristey, John" userId="332565b3-ba65-4c97-b7a2-fe0308b1bf99" providerId="ADAL" clId="{8CFFDC90-380E-44A1-8770-9B3D799A835E}" dt="2023-12-11T15:21:24.829" v="812" actId="20577"/>
        <pc:sldMkLst>
          <pc:docMk/>
          <pc:sldMk cId="1925682243" sldId="2145705569"/>
        </pc:sldMkLst>
        <pc:spChg chg="mod">
          <ac:chgData name="Ristey, John" userId="332565b3-ba65-4c97-b7a2-fe0308b1bf99" providerId="ADAL" clId="{8CFFDC90-380E-44A1-8770-9B3D799A835E}" dt="2023-12-11T15:00:27.072" v="70" actId="20577"/>
          <ac:spMkLst>
            <pc:docMk/>
            <pc:sldMk cId="1925682243" sldId="2145705569"/>
            <ac:spMk id="2" creationId="{43260366-934D-7159-CFE5-2A7ACCCB5DB5}"/>
          </ac:spMkLst>
        </pc:spChg>
        <pc:spChg chg="mod">
          <ac:chgData name="Ristey, John" userId="332565b3-ba65-4c97-b7a2-fe0308b1bf99" providerId="ADAL" clId="{8CFFDC90-380E-44A1-8770-9B3D799A835E}" dt="2023-12-11T15:21:24.829" v="812" actId="20577"/>
          <ac:spMkLst>
            <pc:docMk/>
            <pc:sldMk cId="1925682243" sldId="2145705569"/>
            <ac:spMk id="3" creationId="{F3349E4C-A228-148B-0E05-AB9F072EE480}"/>
          </ac:spMkLst>
        </pc:spChg>
      </pc:sldChg>
      <pc:sldChg chg="modSp new mod">
        <pc:chgData name="Ristey, John" userId="332565b3-ba65-4c97-b7a2-fe0308b1bf99" providerId="ADAL" clId="{8CFFDC90-380E-44A1-8770-9B3D799A835E}" dt="2023-12-11T15:16:38.175" v="519" actId="20577"/>
        <pc:sldMkLst>
          <pc:docMk/>
          <pc:sldMk cId="471047957" sldId="2145705570"/>
        </pc:sldMkLst>
        <pc:spChg chg="mod">
          <ac:chgData name="Ristey, John" userId="332565b3-ba65-4c97-b7a2-fe0308b1bf99" providerId="ADAL" clId="{8CFFDC90-380E-44A1-8770-9B3D799A835E}" dt="2023-12-11T15:16:38.175" v="519" actId="20577"/>
          <ac:spMkLst>
            <pc:docMk/>
            <pc:sldMk cId="471047957" sldId="2145705570"/>
            <ac:spMk id="2" creationId="{2EC706C7-3F21-9DDA-588C-3BA9C63CA85E}"/>
          </ac:spMkLst>
        </pc:spChg>
      </pc:sldChg>
      <pc:sldChg chg="modSp add mod">
        <pc:chgData name="Ristey, John" userId="332565b3-ba65-4c97-b7a2-fe0308b1bf99" providerId="ADAL" clId="{8CFFDC90-380E-44A1-8770-9B3D799A835E}" dt="2023-12-11T15:21:36.560" v="828" actId="20577"/>
        <pc:sldMkLst>
          <pc:docMk/>
          <pc:sldMk cId="980114644" sldId="2145705571"/>
        </pc:sldMkLst>
        <pc:spChg chg="mod">
          <ac:chgData name="Ristey, John" userId="332565b3-ba65-4c97-b7a2-fe0308b1bf99" providerId="ADAL" clId="{8CFFDC90-380E-44A1-8770-9B3D799A835E}" dt="2023-12-11T15:21:36.560" v="828" actId="20577"/>
          <ac:spMkLst>
            <pc:docMk/>
            <pc:sldMk cId="980114644" sldId="2145705571"/>
            <ac:spMk id="2" creationId="{2EC706C7-3F21-9DDA-588C-3BA9C63CA85E}"/>
          </ac:spMkLst>
        </pc:spChg>
      </pc:sldChg>
      <pc:sldChg chg="modSp add mod">
        <pc:chgData name="Ristey, John" userId="332565b3-ba65-4c97-b7a2-fe0308b1bf99" providerId="ADAL" clId="{8CFFDC90-380E-44A1-8770-9B3D799A835E}" dt="2023-12-11T15:21:05.217" v="800" actId="20577"/>
        <pc:sldMkLst>
          <pc:docMk/>
          <pc:sldMk cId="298864609" sldId="2145705572"/>
        </pc:sldMkLst>
        <pc:spChg chg="mod">
          <ac:chgData name="Ristey, John" userId="332565b3-ba65-4c97-b7a2-fe0308b1bf99" providerId="ADAL" clId="{8CFFDC90-380E-44A1-8770-9B3D799A835E}" dt="2023-12-11T15:21:05.217" v="800" actId="20577"/>
          <ac:spMkLst>
            <pc:docMk/>
            <pc:sldMk cId="298864609" sldId="2145705572"/>
            <ac:spMk id="2" creationId="{E9B62CF3-E8FD-42C3-892E-93552D195BDD}"/>
          </ac:spMkLst>
        </pc:spChg>
        <pc:spChg chg="mod">
          <ac:chgData name="Ristey, John" userId="332565b3-ba65-4c97-b7a2-fe0308b1bf99" providerId="ADAL" clId="{8CFFDC90-380E-44A1-8770-9B3D799A835E}" dt="2023-12-11T15:19:24.251" v="545" actId="20577"/>
          <ac:spMkLst>
            <pc:docMk/>
            <pc:sldMk cId="298864609" sldId="2145705572"/>
            <ac:spMk id="3" creationId="{65246340-EA8C-4976-803F-95C123931499}"/>
          </ac:spMkLst>
        </pc:spChg>
      </pc:sldChg>
      <pc:sldChg chg="addSp delSp modSp new mod modAnim">
        <pc:chgData name="Ristey, John" userId="332565b3-ba65-4c97-b7a2-fe0308b1bf99" providerId="ADAL" clId="{8CFFDC90-380E-44A1-8770-9B3D799A835E}" dt="2023-12-11T15:30:45.483" v="884" actId="14100"/>
        <pc:sldMkLst>
          <pc:docMk/>
          <pc:sldMk cId="2489103629" sldId="2145705573"/>
        </pc:sldMkLst>
        <pc:spChg chg="mod">
          <ac:chgData name="Ristey, John" userId="332565b3-ba65-4c97-b7a2-fe0308b1bf99" providerId="ADAL" clId="{8CFFDC90-380E-44A1-8770-9B3D799A835E}" dt="2023-12-11T15:25:30.047" v="857" actId="20577"/>
          <ac:spMkLst>
            <pc:docMk/>
            <pc:sldMk cId="2489103629" sldId="2145705573"/>
            <ac:spMk id="2" creationId="{8C8434A1-E083-6BFB-E2D5-DD6B9F59CE13}"/>
          </ac:spMkLst>
        </pc:spChg>
        <pc:spChg chg="add mod">
          <ac:chgData name="Ristey, John" userId="332565b3-ba65-4c97-b7a2-fe0308b1bf99" providerId="ADAL" clId="{8CFFDC90-380E-44A1-8770-9B3D799A835E}" dt="2023-12-11T15:30:39.768" v="882" actId="1076"/>
          <ac:spMkLst>
            <pc:docMk/>
            <pc:sldMk cId="2489103629" sldId="2145705573"/>
            <ac:spMk id="10" creationId="{29E5C5F6-45B2-9002-2D88-39BF65C4C0D6}"/>
          </ac:spMkLst>
        </pc:spChg>
        <pc:spChg chg="add mod">
          <ac:chgData name="Ristey, John" userId="332565b3-ba65-4c97-b7a2-fe0308b1bf99" providerId="ADAL" clId="{8CFFDC90-380E-44A1-8770-9B3D799A835E}" dt="2023-12-11T15:30:24.436" v="879" actId="1076"/>
          <ac:spMkLst>
            <pc:docMk/>
            <pc:sldMk cId="2489103629" sldId="2145705573"/>
            <ac:spMk id="11" creationId="{EA1C38FE-CB33-5EE2-AEDD-279645924587}"/>
          </ac:spMkLst>
        </pc:spChg>
        <pc:spChg chg="add mod">
          <ac:chgData name="Ristey, John" userId="332565b3-ba65-4c97-b7a2-fe0308b1bf99" providerId="ADAL" clId="{8CFFDC90-380E-44A1-8770-9B3D799A835E}" dt="2023-12-11T15:30:03.926" v="878" actId="1076"/>
          <ac:spMkLst>
            <pc:docMk/>
            <pc:sldMk cId="2489103629" sldId="2145705573"/>
            <ac:spMk id="14" creationId="{5256F6CE-8F29-AE28-004B-1799BC6B018B}"/>
          </ac:spMkLst>
        </pc:spChg>
        <pc:picChg chg="add del mod">
          <ac:chgData name="Ristey, John" userId="332565b3-ba65-4c97-b7a2-fe0308b1bf99" providerId="ADAL" clId="{8CFFDC90-380E-44A1-8770-9B3D799A835E}" dt="2023-12-11T15:27:13.097" v="862" actId="478"/>
          <ac:picMkLst>
            <pc:docMk/>
            <pc:sldMk cId="2489103629" sldId="2145705573"/>
            <ac:picMk id="4" creationId="{B85DDC1E-E3EC-735D-AD97-4FD69C528D80}"/>
          </ac:picMkLst>
        </pc:picChg>
        <pc:picChg chg="add del mod">
          <ac:chgData name="Ristey, John" userId="332565b3-ba65-4c97-b7a2-fe0308b1bf99" providerId="ADAL" clId="{8CFFDC90-380E-44A1-8770-9B3D799A835E}" dt="2023-12-11T15:27:44.025" v="867" actId="478"/>
          <ac:picMkLst>
            <pc:docMk/>
            <pc:sldMk cId="2489103629" sldId="2145705573"/>
            <ac:picMk id="6" creationId="{7671367F-DAD4-1B6F-1672-B5E6CB63B91D}"/>
          </ac:picMkLst>
        </pc:picChg>
        <pc:picChg chg="add mod">
          <ac:chgData name="Ristey, John" userId="332565b3-ba65-4c97-b7a2-fe0308b1bf99" providerId="ADAL" clId="{8CFFDC90-380E-44A1-8770-9B3D799A835E}" dt="2023-12-11T15:28:17.282" v="872" actId="692"/>
          <ac:picMkLst>
            <pc:docMk/>
            <pc:sldMk cId="2489103629" sldId="2145705573"/>
            <ac:picMk id="8" creationId="{B5A0A73A-7AB3-A3B4-6D33-C6469304EB6D}"/>
          </ac:picMkLst>
        </pc:picChg>
        <pc:cxnChg chg="add mod">
          <ac:chgData name="Ristey, John" userId="332565b3-ba65-4c97-b7a2-fe0308b1bf99" providerId="ADAL" clId="{8CFFDC90-380E-44A1-8770-9B3D799A835E}" dt="2023-12-11T15:30:45.483" v="884" actId="14100"/>
          <ac:cxnSpMkLst>
            <pc:docMk/>
            <pc:sldMk cId="2489103629" sldId="2145705573"/>
            <ac:cxnSpMk id="9" creationId="{D286A035-2883-89FC-787A-D9A73EAAA178}"/>
          </ac:cxnSpMkLst>
        </pc:cxnChg>
        <pc:cxnChg chg="add mod">
          <ac:chgData name="Ristey, John" userId="332565b3-ba65-4c97-b7a2-fe0308b1bf99" providerId="ADAL" clId="{8CFFDC90-380E-44A1-8770-9B3D799A835E}" dt="2023-12-11T15:30:30.831" v="881" actId="14100"/>
          <ac:cxnSpMkLst>
            <pc:docMk/>
            <pc:sldMk cId="2489103629" sldId="2145705573"/>
            <ac:cxnSpMk id="12" creationId="{8F4F70D6-3E18-197D-47DD-61E4F44577E5}"/>
          </ac:cxnSpMkLst>
        </pc:cxnChg>
        <pc:cxnChg chg="add mod">
          <ac:chgData name="Ristey, John" userId="332565b3-ba65-4c97-b7a2-fe0308b1bf99" providerId="ADAL" clId="{8CFFDC90-380E-44A1-8770-9B3D799A835E}" dt="2023-12-11T15:29:56.794" v="877" actId="14100"/>
          <ac:cxnSpMkLst>
            <pc:docMk/>
            <pc:sldMk cId="2489103629" sldId="2145705573"/>
            <ac:cxnSpMk id="13" creationId="{3D5081BF-0B68-F51F-39F1-FB125487495A}"/>
          </ac:cxnSpMkLst>
        </pc:cxnChg>
      </pc:sldChg>
      <pc:sldChg chg="addSp delSp modSp new mod modAnim">
        <pc:chgData name="Ristey, John" userId="332565b3-ba65-4c97-b7a2-fe0308b1bf99" providerId="ADAL" clId="{8CFFDC90-380E-44A1-8770-9B3D799A835E}" dt="2023-12-11T22:16:04.284" v="1562" actId="1076"/>
        <pc:sldMkLst>
          <pc:docMk/>
          <pc:sldMk cId="4141296335" sldId="2145705574"/>
        </pc:sldMkLst>
        <pc:spChg chg="mod">
          <ac:chgData name="Ristey, John" userId="332565b3-ba65-4c97-b7a2-fe0308b1bf99" providerId="ADAL" clId="{8CFFDC90-380E-44A1-8770-9B3D799A835E}" dt="2023-12-11T15:32:23.209" v="898"/>
          <ac:spMkLst>
            <pc:docMk/>
            <pc:sldMk cId="4141296335" sldId="2145705574"/>
            <ac:spMk id="2" creationId="{B27A6C79-8FF0-9069-FD20-91EEFC640428}"/>
          </ac:spMkLst>
        </pc:spChg>
        <pc:spChg chg="add mod">
          <ac:chgData name="Ristey, John" userId="332565b3-ba65-4c97-b7a2-fe0308b1bf99" providerId="ADAL" clId="{8CFFDC90-380E-44A1-8770-9B3D799A835E}" dt="2023-12-11T22:15:50.938" v="1560" actId="1076"/>
          <ac:spMkLst>
            <pc:docMk/>
            <pc:sldMk cId="4141296335" sldId="2145705574"/>
            <ac:spMk id="5" creationId="{2E2B444D-C600-0D3D-876E-67086CA0A93B}"/>
          </ac:spMkLst>
        </pc:spChg>
        <pc:spChg chg="add mod">
          <ac:chgData name="Ristey, John" userId="332565b3-ba65-4c97-b7a2-fe0308b1bf99" providerId="ADAL" clId="{8CFFDC90-380E-44A1-8770-9B3D799A835E}" dt="2023-12-11T22:16:04.284" v="1562" actId="1076"/>
          <ac:spMkLst>
            <pc:docMk/>
            <pc:sldMk cId="4141296335" sldId="2145705574"/>
            <ac:spMk id="6" creationId="{B3EBFF3E-8544-09FC-B188-76F9C824D9A2}"/>
          </ac:spMkLst>
        </pc:spChg>
        <pc:spChg chg="add mod">
          <ac:chgData name="Ristey, John" userId="332565b3-ba65-4c97-b7a2-fe0308b1bf99" providerId="ADAL" clId="{8CFFDC90-380E-44A1-8770-9B3D799A835E}" dt="2023-12-11T22:15:57.708" v="1561" actId="1076"/>
          <ac:spMkLst>
            <pc:docMk/>
            <pc:sldMk cId="4141296335" sldId="2145705574"/>
            <ac:spMk id="7" creationId="{82B34512-0AEF-BADC-86A9-3D04EE232505}"/>
          </ac:spMkLst>
        </pc:spChg>
        <pc:picChg chg="add del mod">
          <ac:chgData name="Ristey, John" userId="332565b3-ba65-4c97-b7a2-fe0308b1bf99" providerId="ADAL" clId="{8CFFDC90-380E-44A1-8770-9B3D799A835E}" dt="2023-12-11T22:14:57.574" v="1552" actId="478"/>
          <ac:picMkLst>
            <pc:docMk/>
            <pc:sldMk cId="4141296335" sldId="2145705574"/>
            <ac:picMk id="4" creationId="{394BEA32-0E7C-DEE6-A3D9-62CAD7A823E5}"/>
          </ac:picMkLst>
        </pc:picChg>
        <pc:picChg chg="add mod ord">
          <ac:chgData name="Ristey, John" userId="332565b3-ba65-4c97-b7a2-fe0308b1bf99" providerId="ADAL" clId="{8CFFDC90-380E-44A1-8770-9B3D799A835E}" dt="2023-12-11T22:15:37.986" v="1559" actId="1076"/>
          <ac:picMkLst>
            <pc:docMk/>
            <pc:sldMk cId="4141296335" sldId="2145705574"/>
            <ac:picMk id="9" creationId="{14EE2D8F-9372-6A82-7A9A-06D527E5162F}"/>
          </ac:picMkLst>
        </pc:picChg>
      </pc:sldChg>
      <pc:sldChg chg="addSp modSp add mod modAnim">
        <pc:chgData name="Ristey, John" userId="332565b3-ba65-4c97-b7a2-fe0308b1bf99" providerId="ADAL" clId="{8CFFDC90-380E-44A1-8770-9B3D799A835E}" dt="2023-12-11T16:39:19.462" v="937"/>
        <pc:sldMkLst>
          <pc:docMk/>
          <pc:sldMk cId="2099074796" sldId="2145705575"/>
        </pc:sldMkLst>
        <pc:spChg chg="mod">
          <ac:chgData name="Ristey, John" userId="332565b3-ba65-4c97-b7a2-fe0308b1bf99" providerId="ADAL" clId="{8CFFDC90-380E-44A1-8770-9B3D799A835E}" dt="2023-12-11T16:35:53.223" v="925" actId="20577"/>
          <ac:spMkLst>
            <pc:docMk/>
            <pc:sldMk cId="2099074796" sldId="2145705575"/>
            <ac:spMk id="2" creationId="{B27A6C79-8FF0-9069-FD20-91EEFC640428}"/>
          </ac:spMkLst>
        </pc:spChg>
        <pc:spChg chg="add mod">
          <ac:chgData name="Ristey, John" userId="332565b3-ba65-4c97-b7a2-fe0308b1bf99" providerId="ADAL" clId="{8CFFDC90-380E-44A1-8770-9B3D799A835E}" dt="2023-12-11T16:37:34.652" v="933" actId="1076"/>
          <ac:spMkLst>
            <pc:docMk/>
            <pc:sldMk cId="2099074796" sldId="2145705575"/>
            <ac:spMk id="5" creationId="{7DFE6AC6-2EDE-8D23-3E1C-FBDD14A8ED2A}"/>
          </ac:spMkLst>
        </pc:spChg>
        <pc:spChg chg="add mod">
          <ac:chgData name="Ristey, John" userId="332565b3-ba65-4c97-b7a2-fe0308b1bf99" providerId="ADAL" clId="{8CFFDC90-380E-44A1-8770-9B3D799A835E}" dt="2023-12-11T16:37:46.451" v="935" actId="1076"/>
          <ac:spMkLst>
            <pc:docMk/>
            <pc:sldMk cId="2099074796" sldId="2145705575"/>
            <ac:spMk id="6" creationId="{BEB66A47-033C-FFAC-5249-8EE26C119D99}"/>
          </ac:spMkLst>
        </pc:spChg>
        <pc:picChg chg="add mod">
          <ac:chgData name="Ristey, John" userId="332565b3-ba65-4c97-b7a2-fe0308b1bf99" providerId="ADAL" clId="{8CFFDC90-380E-44A1-8770-9B3D799A835E}" dt="2023-12-11T16:36:28.152" v="931" actId="1076"/>
          <ac:picMkLst>
            <pc:docMk/>
            <pc:sldMk cId="2099074796" sldId="2145705575"/>
            <ac:picMk id="4" creationId="{4F811B86-352D-E8BB-5CCC-113A4532FF0F}"/>
          </ac:picMkLst>
        </pc:picChg>
        <pc:cxnChg chg="add mod">
          <ac:chgData name="Ristey, John" userId="332565b3-ba65-4c97-b7a2-fe0308b1bf99" providerId="ADAL" clId="{8CFFDC90-380E-44A1-8770-9B3D799A835E}" dt="2023-12-11T16:37:44.234" v="934" actId="1076"/>
          <ac:cxnSpMkLst>
            <pc:docMk/>
            <pc:sldMk cId="2099074796" sldId="2145705575"/>
            <ac:cxnSpMk id="7" creationId="{0B6DB8D3-D84A-256F-75E5-21D38AF07E68}"/>
          </ac:cxnSpMkLst>
        </pc:cxnChg>
      </pc:sldChg>
      <pc:sldChg chg="addSp modSp add mod modAnim">
        <pc:chgData name="Ristey, John" userId="332565b3-ba65-4c97-b7a2-fe0308b1bf99" providerId="ADAL" clId="{8CFFDC90-380E-44A1-8770-9B3D799A835E}" dt="2023-12-11T16:47:19.772" v="995" actId="1076"/>
        <pc:sldMkLst>
          <pc:docMk/>
          <pc:sldMk cId="3032087528" sldId="2145705576"/>
        </pc:sldMkLst>
        <pc:spChg chg="mod">
          <ac:chgData name="Ristey, John" userId="332565b3-ba65-4c97-b7a2-fe0308b1bf99" providerId="ADAL" clId="{8CFFDC90-380E-44A1-8770-9B3D799A835E}" dt="2023-12-11T16:41:53.962" v="982" actId="20577"/>
          <ac:spMkLst>
            <pc:docMk/>
            <pc:sldMk cId="3032087528" sldId="2145705576"/>
            <ac:spMk id="2" creationId="{B27A6C79-8FF0-9069-FD20-91EEFC640428}"/>
          </ac:spMkLst>
        </pc:spChg>
        <pc:spChg chg="add mod">
          <ac:chgData name="Ristey, John" userId="332565b3-ba65-4c97-b7a2-fe0308b1bf99" providerId="ADAL" clId="{8CFFDC90-380E-44A1-8770-9B3D799A835E}" dt="2023-12-11T16:46:26.453" v="989" actId="1076"/>
          <ac:spMkLst>
            <pc:docMk/>
            <pc:sldMk cId="3032087528" sldId="2145705576"/>
            <ac:spMk id="5" creationId="{05993033-705F-DE84-F8EF-E4D5BC99CCDE}"/>
          </ac:spMkLst>
        </pc:spChg>
        <pc:spChg chg="add mod">
          <ac:chgData name="Ristey, John" userId="332565b3-ba65-4c97-b7a2-fe0308b1bf99" providerId="ADAL" clId="{8CFFDC90-380E-44A1-8770-9B3D799A835E}" dt="2023-12-11T16:47:19.772" v="995" actId="1076"/>
          <ac:spMkLst>
            <pc:docMk/>
            <pc:sldMk cId="3032087528" sldId="2145705576"/>
            <ac:spMk id="6" creationId="{CF996D1B-BDE4-C4F3-35E9-516354576452}"/>
          </ac:spMkLst>
        </pc:spChg>
        <pc:spChg chg="add mod">
          <ac:chgData name="Ristey, John" userId="332565b3-ba65-4c97-b7a2-fe0308b1bf99" providerId="ADAL" clId="{8CFFDC90-380E-44A1-8770-9B3D799A835E}" dt="2023-12-11T16:46:44.636" v="990" actId="1076"/>
          <ac:spMkLst>
            <pc:docMk/>
            <pc:sldMk cId="3032087528" sldId="2145705576"/>
            <ac:spMk id="7" creationId="{40DED120-C81C-617E-DB3B-3F60F785D934}"/>
          </ac:spMkLst>
        </pc:spChg>
        <pc:spChg chg="add mod">
          <ac:chgData name="Ristey, John" userId="332565b3-ba65-4c97-b7a2-fe0308b1bf99" providerId="ADAL" clId="{8CFFDC90-380E-44A1-8770-9B3D799A835E}" dt="2023-12-11T16:46:59.863" v="993" actId="1076"/>
          <ac:spMkLst>
            <pc:docMk/>
            <pc:sldMk cId="3032087528" sldId="2145705576"/>
            <ac:spMk id="8" creationId="{5C3BA2B6-7B02-E51B-D85E-ACB1CE650C1B}"/>
          </ac:spMkLst>
        </pc:spChg>
        <pc:spChg chg="add mod">
          <ac:chgData name="Ristey, John" userId="332565b3-ba65-4c97-b7a2-fe0308b1bf99" providerId="ADAL" clId="{8CFFDC90-380E-44A1-8770-9B3D799A835E}" dt="2023-12-11T16:47:09.912" v="994" actId="1076"/>
          <ac:spMkLst>
            <pc:docMk/>
            <pc:sldMk cId="3032087528" sldId="2145705576"/>
            <ac:spMk id="10" creationId="{D6C6FB1C-FC3B-9BBE-6353-43BA4D103BB3}"/>
          </ac:spMkLst>
        </pc:spChg>
        <pc:picChg chg="add mod">
          <ac:chgData name="Ristey, John" userId="332565b3-ba65-4c97-b7a2-fe0308b1bf99" providerId="ADAL" clId="{8CFFDC90-380E-44A1-8770-9B3D799A835E}" dt="2023-12-11T16:45:51.214" v="987" actId="1076"/>
          <ac:picMkLst>
            <pc:docMk/>
            <pc:sldMk cId="3032087528" sldId="2145705576"/>
            <ac:picMk id="4" creationId="{51273392-D36E-BFD2-A4CC-2863DAACBF97}"/>
          </ac:picMkLst>
        </pc:picChg>
        <pc:cxnChg chg="add mod">
          <ac:chgData name="Ristey, John" userId="332565b3-ba65-4c97-b7a2-fe0308b1bf99" providerId="ADAL" clId="{8CFFDC90-380E-44A1-8770-9B3D799A835E}" dt="2023-12-11T16:46:55.172" v="992" actId="1076"/>
          <ac:cxnSpMkLst>
            <pc:docMk/>
            <pc:sldMk cId="3032087528" sldId="2145705576"/>
            <ac:cxnSpMk id="9" creationId="{75D79175-8867-DDF1-52D7-36FF86C68AFA}"/>
          </ac:cxnSpMkLst>
        </pc:cxnChg>
      </pc:sldChg>
      <pc:sldChg chg="addSp modSp add mod ord modAnim">
        <pc:chgData name="Ristey, John" userId="332565b3-ba65-4c97-b7a2-fe0308b1bf99" providerId="ADAL" clId="{8CFFDC90-380E-44A1-8770-9B3D799A835E}" dt="2023-12-11T20:01:47.230" v="1224"/>
        <pc:sldMkLst>
          <pc:docMk/>
          <pc:sldMk cId="1634848466" sldId="2145705577"/>
        </pc:sldMkLst>
        <pc:spChg chg="mod">
          <ac:chgData name="Ristey, John" userId="332565b3-ba65-4c97-b7a2-fe0308b1bf99" providerId="ADAL" clId="{8CFFDC90-380E-44A1-8770-9B3D799A835E}" dt="2023-12-11T16:49:45.247" v="1020" actId="20577"/>
          <ac:spMkLst>
            <pc:docMk/>
            <pc:sldMk cId="1634848466" sldId="2145705577"/>
            <ac:spMk id="2" creationId="{B27A6C79-8FF0-9069-FD20-91EEFC640428}"/>
          </ac:spMkLst>
        </pc:spChg>
        <pc:spChg chg="add mod">
          <ac:chgData name="Ristey, John" userId="332565b3-ba65-4c97-b7a2-fe0308b1bf99" providerId="ADAL" clId="{8CFFDC90-380E-44A1-8770-9B3D799A835E}" dt="2023-12-11T16:57:23.394" v="1142" actId="1076"/>
          <ac:spMkLst>
            <pc:docMk/>
            <pc:sldMk cId="1634848466" sldId="2145705577"/>
            <ac:spMk id="5" creationId="{0A5BB619-26F0-DFD8-0F51-9689775B0F07}"/>
          </ac:spMkLst>
        </pc:spChg>
        <pc:picChg chg="add mod">
          <ac:chgData name="Ristey, John" userId="332565b3-ba65-4c97-b7a2-fe0308b1bf99" providerId="ADAL" clId="{8CFFDC90-380E-44A1-8770-9B3D799A835E}" dt="2023-12-11T16:55:54.380" v="1106" actId="1076"/>
          <ac:picMkLst>
            <pc:docMk/>
            <pc:sldMk cId="1634848466" sldId="2145705577"/>
            <ac:picMk id="4" creationId="{DE82A888-FE4F-40BA-91F7-B8D277F48FA1}"/>
          </ac:picMkLst>
        </pc:picChg>
        <pc:cxnChg chg="add mod">
          <ac:chgData name="Ristey, John" userId="332565b3-ba65-4c97-b7a2-fe0308b1bf99" providerId="ADAL" clId="{8CFFDC90-380E-44A1-8770-9B3D799A835E}" dt="2023-12-11T16:57:23.394" v="1142" actId="1076"/>
          <ac:cxnSpMkLst>
            <pc:docMk/>
            <pc:sldMk cId="1634848466" sldId="2145705577"/>
            <ac:cxnSpMk id="6" creationId="{21565B6A-6403-9CE9-3FFF-ADD455B42D13}"/>
          </ac:cxnSpMkLst>
        </pc:cxnChg>
      </pc:sldChg>
      <pc:sldChg chg="addSp modSp add mod modAnim">
        <pc:chgData name="Ristey, John" userId="332565b3-ba65-4c97-b7a2-fe0308b1bf99" providerId="ADAL" clId="{8CFFDC90-380E-44A1-8770-9B3D799A835E}" dt="2023-12-11T17:01:51.394" v="1170"/>
        <pc:sldMkLst>
          <pc:docMk/>
          <pc:sldMk cId="1314537262" sldId="2145705578"/>
        </pc:sldMkLst>
        <pc:spChg chg="mod">
          <ac:chgData name="Ristey, John" userId="332565b3-ba65-4c97-b7a2-fe0308b1bf99" providerId="ADAL" clId="{8CFFDC90-380E-44A1-8770-9B3D799A835E}" dt="2023-12-11T16:58:39.859" v="1157" actId="20577"/>
          <ac:spMkLst>
            <pc:docMk/>
            <pc:sldMk cId="1314537262" sldId="2145705578"/>
            <ac:spMk id="2" creationId="{B27A6C79-8FF0-9069-FD20-91EEFC640428}"/>
          </ac:spMkLst>
        </pc:spChg>
        <pc:spChg chg="add mod">
          <ac:chgData name="Ristey, John" userId="332565b3-ba65-4c97-b7a2-fe0308b1bf99" providerId="ADAL" clId="{8CFFDC90-380E-44A1-8770-9B3D799A835E}" dt="2023-12-11T17:00:12.027" v="1165" actId="1076"/>
          <ac:spMkLst>
            <pc:docMk/>
            <pc:sldMk cId="1314537262" sldId="2145705578"/>
            <ac:spMk id="5" creationId="{4F62FB0A-4D23-8203-A7E0-54C07B16268C}"/>
          </ac:spMkLst>
        </pc:spChg>
        <pc:picChg chg="add mod">
          <ac:chgData name="Ristey, John" userId="332565b3-ba65-4c97-b7a2-fe0308b1bf99" providerId="ADAL" clId="{8CFFDC90-380E-44A1-8770-9B3D799A835E}" dt="2023-12-11T16:59:34.783" v="1163" actId="1076"/>
          <ac:picMkLst>
            <pc:docMk/>
            <pc:sldMk cId="1314537262" sldId="2145705578"/>
            <ac:picMk id="4" creationId="{5318C3F7-516F-A995-51B0-D48AC1FBB9F3}"/>
          </ac:picMkLst>
        </pc:picChg>
        <pc:picChg chg="add mod">
          <ac:chgData name="Ristey, John" userId="332565b3-ba65-4c97-b7a2-fe0308b1bf99" providerId="ADAL" clId="{8CFFDC90-380E-44A1-8770-9B3D799A835E}" dt="2023-12-11T17:01:40.312" v="1168" actId="1076"/>
          <ac:picMkLst>
            <pc:docMk/>
            <pc:sldMk cId="1314537262" sldId="2145705578"/>
            <ac:picMk id="8" creationId="{AB279D0B-A400-9FDF-A96E-50752E33517F}"/>
          </ac:picMkLst>
        </pc:picChg>
        <pc:cxnChg chg="add mod">
          <ac:chgData name="Ristey, John" userId="332565b3-ba65-4c97-b7a2-fe0308b1bf99" providerId="ADAL" clId="{8CFFDC90-380E-44A1-8770-9B3D799A835E}" dt="2023-12-11T17:00:12.027" v="1165" actId="1076"/>
          <ac:cxnSpMkLst>
            <pc:docMk/>
            <pc:sldMk cId="1314537262" sldId="2145705578"/>
            <ac:cxnSpMk id="6" creationId="{4F32F24C-91DA-4DB9-6179-5A0BC5B6B473}"/>
          </ac:cxnSpMkLst>
        </pc:cxnChg>
      </pc:sldChg>
      <pc:sldChg chg="addSp modSp add mod modAnim">
        <pc:chgData name="Ristey, John" userId="332565b3-ba65-4c97-b7a2-fe0308b1bf99" providerId="ADAL" clId="{8CFFDC90-380E-44A1-8770-9B3D799A835E}" dt="2023-12-11T20:06:50.797" v="1235"/>
        <pc:sldMkLst>
          <pc:docMk/>
          <pc:sldMk cId="196917995" sldId="2145705579"/>
        </pc:sldMkLst>
        <pc:spChg chg="mod">
          <ac:chgData name="Ristey, John" userId="332565b3-ba65-4c97-b7a2-fe0308b1bf99" providerId="ADAL" clId="{8CFFDC90-380E-44A1-8770-9B3D799A835E}" dt="2023-12-11T18:22:49.707" v="1187" actId="20577"/>
          <ac:spMkLst>
            <pc:docMk/>
            <pc:sldMk cId="196917995" sldId="2145705579"/>
            <ac:spMk id="2" creationId="{B27A6C79-8FF0-9069-FD20-91EEFC640428}"/>
          </ac:spMkLst>
        </pc:spChg>
        <pc:spChg chg="add mod">
          <ac:chgData name="Ristey, John" userId="332565b3-ba65-4c97-b7a2-fe0308b1bf99" providerId="ADAL" clId="{8CFFDC90-380E-44A1-8770-9B3D799A835E}" dt="2023-12-11T18:29:28.257" v="1219" actId="1076"/>
          <ac:spMkLst>
            <pc:docMk/>
            <pc:sldMk cId="196917995" sldId="2145705579"/>
            <ac:spMk id="5" creationId="{66122674-175B-BFF6-67B2-4C0763AF1EB6}"/>
          </ac:spMkLst>
        </pc:spChg>
        <pc:spChg chg="add mod">
          <ac:chgData name="Ristey, John" userId="332565b3-ba65-4c97-b7a2-fe0308b1bf99" providerId="ADAL" clId="{8CFFDC90-380E-44A1-8770-9B3D799A835E}" dt="2023-12-11T18:27:54.086" v="1198" actId="1076"/>
          <ac:spMkLst>
            <pc:docMk/>
            <pc:sldMk cId="196917995" sldId="2145705579"/>
            <ac:spMk id="7" creationId="{07EBDB7F-EC7F-DEE2-21A7-E257E3DC1B18}"/>
          </ac:spMkLst>
        </pc:spChg>
        <pc:spChg chg="add mod">
          <ac:chgData name="Ristey, John" userId="332565b3-ba65-4c97-b7a2-fe0308b1bf99" providerId="ADAL" clId="{8CFFDC90-380E-44A1-8770-9B3D799A835E}" dt="2023-12-11T18:28:18.552" v="1202" actId="1076"/>
          <ac:spMkLst>
            <pc:docMk/>
            <pc:sldMk cId="196917995" sldId="2145705579"/>
            <ac:spMk id="9" creationId="{C7826DE4-911C-534B-7F4B-E554A4BB8B42}"/>
          </ac:spMkLst>
        </pc:spChg>
        <pc:spChg chg="add mod">
          <ac:chgData name="Ristey, John" userId="332565b3-ba65-4c97-b7a2-fe0308b1bf99" providerId="ADAL" clId="{8CFFDC90-380E-44A1-8770-9B3D799A835E}" dt="2023-12-11T18:28:34.722" v="1205" actId="1076"/>
          <ac:spMkLst>
            <pc:docMk/>
            <pc:sldMk cId="196917995" sldId="2145705579"/>
            <ac:spMk id="11" creationId="{7AC3B8FB-CF30-D3FB-3062-6BC134A4DF2C}"/>
          </ac:spMkLst>
        </pc:spChg>
        <pc:spChg chg="add mod">
          <ac:chgData name="Ristey, John" userId="332565b3-ba65-4c97-b7a2-fe0308b1bf99" providerId="ADAL" clId="{8CFFDC90-380E-44A1-8770-9B3D799A835E}" dt="2023-12-11T18:28:40.086" v="1206" actId="1076"/>
          <ac:spMkLst>
            <pc:docMk/>
            <pc:sldMk cId="196917995" sldId="2145705579"/>
            <ac:spMk id="13" creationId="{5E55D765-4A47-2EBB-7DB9-A24052B967FB}"/>
          </ac:spMkLst>
        </pc:spChg>
        <pc:spChg chg="add mod">
          <ac:chgData name="Ristey, John" userId="332565b3-ba65-4c97-b7a2-fe0308b1bf99" providerId="ADAL" clId="{8CFFDC90-380E-44A1-8770-9B3D799A835E}" dt="2023-12-11T18:29:00.014" v="1212" actId="1076"/>
          <ac:spMkLst>
            <pc:docMk/>
            <pc:sldMk cId="196917995" sldId="2145705579"/>
            <ac:spMk id="15" creationId="{7FE56704-FC64-6A00-FB6E-7E2E37F7B155}"/>
          </ac:spMkLst>
        </pc:spChg>
        <pc:spChg chg="add mod">
          <ac:chgData name="Ristey, John" userId="332565b3-ba65-4c97-b7a2-fe0308b1bf99" providerId="ADAL" clId="{8CFFDC90-380E-44A1-8770-9B3D799A835E}" dt="2023-12-11T18:29:11.569" v="1214" actId="1076"/>
          <ac:spMkLst>
            <pc:docMk/>
            <pc:sldMk cId="196917995" sldId="2145705579"/>
            <ac:spMk id="17" creationId="{2D902EE6-584D-FDA5-7F66-6D41820DBFDE}"/>
          </ac:spMkLst>
        </pc:spChg>
        <pc:spChg chg="add mod">
          <ac:chgData name="Ristey, John" userId="332565b3-ba65-4c97-b7a2-fe0308b1bf99" providerId="ADAL" clId="{8CFFDC90-380E-44A1-8770-9B3D799A835E}" dt="2023-12-11T18:29:20.578" v="1217" actId="1076"/>
          <ac:spMkLst>
            <pc:docMk/>
            <pc:sldMk cId="196917995" sldId="2145705579"/>
            <ac:spMk id="19" creationId="{D90B0E57-2865-2F8A-06BF-E310B1DC1788}"/>
          </ac:spMkLst>
        </pc:spChg>
        <pc:picChg chg="add mod">
          <ac:chgData name="Ristey, John" userId="332565b3-ba65-4c97-b7a2-fe0308b1bf99" providerId="ADAL" clId="{8CFFDC90-380E-44A1-8770-9B3D799A835E}" dt="2023-12-11T18:25:03.109" v="1194" actId="1076"/>
          <ac:picMkLst>
            <pc:docMk/>
            <pc:sldMk cId="196917995" sldId="2145705579"/>
            <ac:picMk id="4" creationId="{81BE313C-29B4-2B39-CA76-6E4414954EA1}"/>
          </ac:picMkLst>
        </pc:picChg>
        <pc:cxnChg chg="add mod">
          <ac:chgData name="Ristey, John" userId="332565b3-ba65-4c97-b7a2-fe0308b1bf99" providerId="ADAL" clId="{8CFFDC90-380E-44A1-8770-9B3D799A835E}" dt="2023-12-11T18:27:43.565" v="1196" actId="1076"/>
          <ac:cxnSpMkLst>
            <pc:docMk/>
            <pc:sldMk cId="196917995" sldId="2145705579"/>
            <ac:cxnSpMk id="6" creationId="{8CFAAF9D-0CDA-9871-142D-9049251F91A0}"/>
          </ac:cxnSpMkLst>
        </pc:cxnChg>
        <pc:cxnChg chg="add mod">
          <ac:chgData name="Ristey, John" userId="332565b3-ba65-4c97-b7a2-fe0308b1bf99" providerId="ADAL" clId="{8CFFDC90-380E-44A1-8770-9B3D799A835E}" dt="2023-12-11T18:27:47.895" v="1197" actId="1076"/>
          <ac:cxnSpMkLst>
            <pc:docMk/>
            <pc:sldMk cId="196917995" sldId="2145705579"/>
            <ac:cxnSpMk id="8" creationId="{1E4C4B55-1A88-7783-49C8-F89280C457D1}"/>
          </ac:cxnSpMkLst>
        </pc:cxnChg>
        <pc:cxnChg chg="add mod">
          <ac:chgData name="Ristey, John" userId="332565b3-ba65-4c97-b7a2-fe0308b1bf99" providerId="ADAL" clId="{8CFFDC90-380E-44A1-8770-9B3D799A835E}" dt="2023-12-11T18:28:22.870" v="1203" actId="1076"/>
          <ac:cxnSpMkLst>
            <pc:docMk/>
            <pc:sldMk cId="196917995" sldId="2145705579"/>
            <ac:cxnSpMk id="10" creationId="{B70FF849-AF79-A172-EBF4-C23462BE912D}"/>
          </ac:cxnSpMkLst>
        </pc:cxnChg>
        <pc:cxnChg chg="add mod">
          <ac:chgData name="Ristey, John" userId="332565b3-ba65-4c97-b7a2-fe0308b1bf99" providerId="ADAL" clId="{8CFFDC90-380E-44A1-8770-9B3D799A835E}" dt="2023-12-11T18:28:13.226" v="1200" actId="1076"/>
          <ac:cxnSpMkLst>
            <pc:docMk/>
            <pc:sldMk cId="196917995" sldId="2145705579"/>
            <ac:cxnSpMk id="12" creationId="{8497B995-C2F7-BD13-2C4E-7D3451F67FF0}"/>
          </ac:cxnSpMkLst>
        </pc:cxnChg>
        <pc:cxnChg chg="add mod">
          <ac:chgData name="Ristey, John" userId="332565b3-ba65-4c97-b7a2-fe0308b1bf99" providerId="ADAL" clId="{8CFFDC90-380E-44A1-8770-9B3D799A835E}" dt="2023-12-11T18:28:42.882" v="1207" actId="1076"/>
          <ac:cxnSpMkLst>
            <pc:docMk/>
            <pc:sldMk cId="196917995" sldId="2145705579"/>
            <ac:cxnSpMk id="14" creationId="{4CDDA2E3-9E84-DF1E-7CA8-29E24CA645C3}"/>
          </ac:cxnSpMkLst>
        </pc:cxnChg>
        <pc:cxnChg chg="add mod">
          <ac:chgData name="Ristey, John" userId="332565b3-ba65-4c97-b7a2-fe0308b1bf99" providerId="ADAL" clId="{8CFFDC90-380E-44A1-8770-9B3D799A835E}" dt="2023-12-11T18:28:49.554" v="1209" actId="1076"/>
          <ac:cxnSpMkLst>
            <pc:docMk/>
            <pc:sldMk cId="196917995" sldId="2145705579"/>
            <ac:cxnSpMk id="16" creationId="{5AF343AF-B185-75E9-87B6-080F9BA5C59D}"/>
          </ac:cxnSpMkLst>
        </pc:cxnChg>
        <pc:cxnChg chg="add mod">
          <ac:chgData name="Ristey, John" userId="332565b3-ba65-4c97-b7a2-fe0308b1bf99" providerId="ADAL" clId="{8CFFDC90-380E-44A1-8770-9B3D799A835E}" dt="2023-12-11T18:29:07.733" v="1213" actId="1076"/>
          <ac:cxnSpMkLst>
            <pc:docMk/>
            <pc:sldMk cId="196917995" sldId="2145705579"/>
            <ac:cxnSpMk id="18" creationId="{EB8573B6-A94D-2BCF-2D0C-8F91AC278F38}"/>
          </ac:cxnSpMkLst>
        </pc:cxnChg>
        <pc:cxnChg chg="add mod">
          <ac:chgData name="Ristey, John" userId="332565b3-ba65-4c97-b7a2-fe0308b1bf99" providerId="ADAL" clId="{8CFFDC90-380E-44A1-8770-9B3D799A835E}" dt="2023-12-11T18:29:17.294" v="1216" actId="1076"/>
          <ac:cxnSpMkLst>
            <pc:docMk/>
            <pc:sldMk cId="196917995" sldId="2145705579"/>
            <ac:cxnSpMk id="20" creationId="{7A35E9AE-B5C2-D664-4614-1CB807448859}"/>
          </ac:cxnSpMkLst>
        </pc:cxnChg>
      </pc:sldChg>
      <pc:sldChg chg="addSp modSp add mod modAnim">
        <pc:chgData name="Ristey, John" userId="332565b3-ba65-4c97-b7a2-fe0308b1bf99" providerId="ADAL" clId="{8CFFDC90-380E-44A1-8770-9B3D799A835E}" dt="2023-12-11T20:19:40.478" v="1278"/>
        <pc:sldMkLst>
          <pc:docMk/>
          <pc:sldMk cId="2404095133" sldId="2145705580"/>
        </pc:sldMkLst>
        <pc:spChg chg="mod">
          <ac:chgData name="Ristey, John" userId="332565b3-ba65-4c97-b7a2-fe0308b1bf99" providerId="ADAL" clId="{8CFFDC90-380E-44A1-8770-9B3D799A835E}" dt="2023-12-11T20:16:15.933" v="1257" actId="20577"/>
          <ac:spMkLst>
            <pc:docMk/>
            <pc:sldMk cId="2404095133" sldId="2145705580"/>
            <ac:spMk id="2" creationId="{B27A6C79-8FF0-9069-FD20-91EEFC640428}"/>
          </ac:spMkLst>
        </pc:spChg>
        <pc:spChg chg="add mod">
          <ac:chgData name="Ristey, John" userId="332565b3-ba65-4c97-b7a2-fe0308b1bf99" providerId="ADAL" clId="{8CFFDC90-380E-44A1-8770-9B3D799A835E}" dt="2023-12-11T20:17:43.562" v="1264" actId="1076"/>
          <ac:spMkLst>
            <pc:docMk/>
            <pc:sldMk cId="2404095133" sldId="2145705580"/>
            <ac:spMk id="7" creationId="{B242E255-7A6D-9798-2D4D-940A1FC18F78}"/>
          </ac:spMkLst>
        </pc:spChg>
        <pc:spChg chg="add mod ord">
          <ac:chgData name="Ristey, John" userId="332565b3-ba65-4c97-b7a2-fe0308b1bf99" providerId="ADAL" clId="{8CFFDC90-380E-44A1-8770-9B3D799A835E}" dt="2023-12-11T20:18:24.348" v="1270" actId="1076"/>
          <ac:spMkLst>
            <pc:docMk/>
            <pc:sldMk cId="2404095133" sldId="2145705580"/>
            <ac:spMk id="9" creationId="{72A824F0-811D-DF6C-1D43-B1682F061F7C}"/>
          </ac:spMkLst>
        </pc:spChg>
        <pc:picChg chg="add mod">
          <ac:chgData name="Ristey, John" userId="332565b3-ba65-4c97-b7a2-fe0308b1bf99" providerId="ADAL" clId="{8CFFDC90-380E-44A1-8770-9B3D799A835E}" dt="2023-12-11T20:16:04.002" v="1241" actId="1076"/>
          <ac:picMkLst>
            <pc:docMk/>
            <pc:sldMk cId="2404095133" sldId="2145705580"/>
            <ac:picMk id="4" creationId="{60ABDA06-2211-3C21-4B15-FEE88331B5FB}"/>
          </ac:picMkLst>
        </pc:picChg>
        <pc:picChg chg="add mod ord">
          <ac:chgData name="Ristey, John" userId="332565b3-ba65-4c97-b7a2-fe0308b1bf99" providerId="ADAL" clId="{8CFFDC90-380E-44A1-8770-9B3D799A835E}" dt="2023-12-11T20:18:18.760" v="1269" actId="1076"/>
          <ac:picMkLst>
            <pc:docMk/>
            <pc:sldMk cId="2404095133" sldId="2145705580"/>
            <ac:picMk id="6" creationId="{0F81EAA9-B63D-33A3-6666-1C05891CDDE3}"/>
          </ac:picMkLst>
        </pc:picChg>
        <pc:cxnChg chg="add mod">
          <ac:chgData name="Ristey, John" userId="332565b3-ba65-4c97-b7a2-fe0308b1bf99" providerId="ADAL" clId="{8CFFDC90-380E-44A1-8770-9B3D799A835E}" dt="2023-12-11T20:17:40.546" v="1263" actId="1076"/>
          <ac:cxnSpMkLst>
            <pc:docMk/>
            <pc:sldMk cId="2404095133" sldId="2145705580"/>
            <ac:cxnSpMk id="8" creationId="{286F391D-2734-371C-D290-77A3D0B8FB32}"/>
          </ac:cxnSpMkLst>
        </pc:cxnChg>
        <pc:cxnChg chg="add mod ord">
          <ac:chgData name="Ristey, John" userId="332565b3-ba65-4c97-b7a2-fe0308b1bf99" providerId="ADAL" clId="{8CFFDC90-380E-44A1-8770-9B3D799A835E}" dt="2023-12-11T20:18:29.598" v="1271" actId="1076"/>
          <ac:cxnSpMkLst>
            <pc:docMk/>
            <pc:sldMk cId="2404095133" sldId="2145705580"/>
            <ac:cxnSpMk id="10" creationId="{B604D5A3-DEDD-2CB6-12A0-D56A4F130941}"/>
          </ac:cxnSpMkLst>
        </pc:cxnChg>
      </pc:sldChg>
      <pc:sldChg chg="addSp delSp modSp add mod modAnim">
        <pc:chgData name="Ristey, John" userId="332565b3-ba65-4c97-b7a2-fe0308b1bf99" providerId="ADAL" clId="{8CFFDC90-380E-44A1-8770-9B3D799A835E}" dt="2023-12-11T20:27:56.003" v="1372" actId="14100"/>
        <pc:sldMkLst>
          <pc:docMk/>
          <pc:sldMk cId="1494205522" sldId="2145705581"/>
        </pc:sldMkLst>
        <pc:spChg chg="mod">
          <ac:chgData name="Ristey, John" userId="332565b3-ba65-4c97-b7a2-fe0308b1bf99" providerId="ADAL" clId="{8CFFDC90-380E-44A1-8770-9B3D799A835E}" dt="2023-12-11T20:20:58.431" v="1294" actId="20577"/>
          <ac:spMkLst>
            <pc:docMk/>
            <pc:sldMk cId="1494205522" sldId="2145705581"/>
            <ac:spMk id="2" creationId="{B27A6C79-8FF0-9069-FD20-91EEFC640428}"/>
          </ac:spMkLst>
        </pc:spChg>
        <pc:spChg chg="add mod">
          <ac:chgData name="Ristey, John" userId="332565b3-ba65-4c97-b7a2-fe0308b1bf99" providerId="ADAL" clId="{8CFFDC90-380E-44A1-8770-9B3D799A835E}" dt="2023-12-11T20:26:27.346" v="1328" actId="1076"/>
          <ac:spMkLst>
            <pc:docMk/>
            <pc:sldMk cId="1494205522" sldId="2145705581"/>
            <ac:spMk id="9" creationId="{1E3E088F-6085-6093-75B9-1C67E485DA5A}"/>
          </ac:spMkLst>
        </pc:spChg>
        <pc:spChg chg="add mod ord">
          <ac:chgData name="Ristey, John" userId="332565b3-ba65-4c97-b7a2-fe0308b1bf99" providerId="ADAL" clId="{8CFFDC90-380E-44A1-8770-9B3D799A835E}" dt="2023-12-11T20:27:56.003" v="1372" actId="14100"/>
          <ac:spMkLst>
            <pc:docMk/>
            <pc:sldMk cId="1494205522" sldId="2145705581"/>
            <ac:spMk id="11" creationId="{D4E8357D-1A05-3695-E6C2-2C965B96C643}"/>
          </ac:spMkLst>
        </pc:spChg>
        <pc:picChg chg="add del mod">
          <ac:chgData name="Ristey, John" userId="332565b3-ba65-4c97-b7a2-fe0308b1bf99" providerId="ADAL" clId="{8CFFDC90-380E-44A1-8770-9B3D799A835E}" dt="2023-12-11T20:23:35.092" v="1301" actId="478"/>
          <ac:picMkLst>
            <pc:docMk/>
            <pc:sldMk cId="1494205522" sldId="2145705581"/>
            <ac:picMk id="4" creationId="{229036BE-93BD-978D-D0A0-E2BC38FBC53D}"/>
          </ac:picMkLst>
        </pc:picChg>
        <pc:picChg chg="add mod">
          <ac:chgData name="Ristey, John" userId="332565b3-ba65-4c97-b7a2-fe0308b1bf99" providerId="ADAL" clId="{8CFFDC90-380E-44A1-8770-9B3D799A835E}" dt="2023-12-11T20:23:53.572" v="1310" actId="1076"/>
          <ac:picMkLst>
            <pc:docMk/>
            <pc:sldMk cId="1494205522" sldId="2145705581"/>
            <ac:picMk id="6" creationId="{1EED4D66-1386-79D8-0800-E2BBE3815D55}"/>
          </ac:picMkLst>
        </pc:picChg>
        <pc:picChg chg="add mod ord">
          <ac:chgData name="Ristey, John" userId="332565b3-ba65-4c97-b7a2-fe0308b1bf99" providerId="ADAL" clId="{8CFFDC90-380E-44A1-8770-9B3D799A835E}" dt="2023-12-11T20:26:46.346" v="1331" actId="1076"/>
          <ac:picMkLst>
            <pc:docMk/>
            <pc:sldMk cId="1494205522" sldId="2145705581"/>
            <ac:picMk id="8" creationId="{97E1A59D-FB2E-6924-EAEA-D4D8A2424838}"/>
          </ac:picMkLst>
        </pc:picChg>
        <pc:cxnChg chg="add mod">
          <ac:chgData name="Ristey, John" userId="332565b3-ba65-4c97-b7a2-fe0308b1bf99" providerId="ADAL" clId="{8CFFDC90-380E-44A1-8770-9B3D799A835E}" dt="2023-12-11T20:26:35.260" v="1330" actId="14100"/>
          <ac:cxnSpMkLst>
            <pc:docMk/>
            <pc:sldMk cId="1494205522" sldId="2145705581"/>
            <ac:cxnSpMk id="10" creationId="{9E0A06F5-32CB-1051-6078-29D4F3710293}"/>
          </ac:cxnSpMkLst>
        </pc:cxnChg>
        <pc:cxnChg chg="add mod ord">
          <ac:chgData name="Ristey, John" userId="332565b3-ba65-4c97-b7a2-fe0308b1bf99" providerId="ADAL" clId="{8CFFDC90-380E-44A1-8770-9B3D799A835E}" dt="2023-12-11T20:26:53.631" v="1333" actId="1076"/>
          <ac:cxnSpMkLst>
            <pc:docMk/>
            <pc:sldMk cId="1494205522" sldId="2145705581"/>
            <ac:cxnSpMk id="12" creationId="{09D633F0-5A95-9C00-08AB-A3638C508340}"/>
          </ac:cxnSpMkLst>
        </pc:cxnChg>
      </pc:sldChg>
      <pc:sldChg chg="addSp modSp add mod">
        <pc:chgData name="Ristey, John" userId="332565b3-ba65-4c97-b7a2-fe0308b1bf99" providerId="ADAL" clId="{8CFFDC90-380E-44A1-8770-9B3D799A835E}" dt="2023-12-11T20:36:41.158" v="1544" actId="1076"/>
        <pc:sldMkLst>
          <pc:docMk/>
          <pc:sldMk cId="3813929466" sldId="2145705582"/>
        </pc:sldMkLst>
        <pc:spChg chg="mod">
          <ac:chgData name="Ristey, John" userId="332565b3-ba65-4c97-b7a2-fe0308b1bf99" providerId="ADAL" clId="{8CFFDC90-380E-44A1-8770-9B3D799A835E}" dt="2023-12-11T20:29:09.422" v="1384" actId="20577"/>
          <ac:spMkLst>
            <pc:docMk/>
            <pc:sldMk cId="3813929466" sldId="2145705582"/>
            <ac:spMk id="2" creationId="{B27A6C79-8FF0-9069-FD20-91EEFC640428}"/>
          </ac:spMkLst>
        </pc:spChg>
        <pc:spChg chg="add mod">
          <ac:chgData name="Ristey, John" userId="332565b3-ba65-4c97-b7a2-fe0308b1bf99" providerId="ADAL" clId="{8CFFDC90-380E-44A1-8770-9B3D799A835E}" dt="2023-12-11T20:36:28.721" v="1542" actId="1076"/>
          <ac:spMkLst>
            <pc:docMk/>
            <pc:sldMk cId="3813929466" sldId="2145705582"/>
            <ac:spMk id="3" creationId="{42B75249-D538-477D-96FA-50A453881441}"/>
          </ac:spMkLst>
        </pc:spChg>
        <pc:spChg chg="add mod">
          <ac:chgData name="Ristey, John" userId="332565b3-ba65-4c97-b7a2-fe0308b1bf99" providerId="ADAL" clId="{8CFFDC90-380E-44A1-8770-9B3D799A835E}" dt="2023-12-11T20:36:24.724" v="1541" actId="1076"/>
          <ac:spMkLst>
            <pc:docMk/>
            <pc:sldMk cId="3813929466" sldId="2145705582"/>
            <ac:spMk id="4" creationId="{671514C1-B9D4-6D92-E24E-F02E549D0DF1}"/>
          </ac:spMkLst>
        </pc:spChg>
        <pc:picChg chg="add mod">
          <ac:chgData name="Ristey, John" userId="332565b3-ba65-4c97-b7a2-fe0308b1bf99" providerId="ADAL" clId="{8CFFDC90-380E-44A1-8770-9B3D799A835E}" dt="2023-12-11T20:36:35.870" v="1543" actId="1076"/>
          <ac:picMkLst>
            <pc:docMk/>
            <pc:sldMk cId="3813929466" sldId="2145705582"/>
            <ac:picMk id="6" creationId="{8C05036B-E001-8556-F0EE-2C7183534204}"/>
          </ac:picMkLst>
        </pc:picChg>
        <pc:picChg chg="add mod">
          <ac:chgData name="Ristey, John" userId="332565b3-ba65-4c97-b7a2-fe0308b1bf99" providerId="ADAL" clId="{8CFFDC90-380E-44A1-8770-9B3D799A835E}" dt="2023-12-11T20:36:41.158" v="1544" actId="1076"/>
          <ac:picMkLst>
            <pc:docMk/>
            <pc:sldMk cId="3813929466" sldId="2145705582"/>
            <ac:picMk id="8" creationId="{EF7F2BDC-675B-3A67-2B20-0C9C05AA1AC6}"/>
          </ac:picMkLst>
        </pc:picChg>
      </pc:sldChg>
      <pc:sldChg chg="add del">
        <pc:chgData name="Ristey, John" userId="332565b3-ba65-4c97-b7a2-fe0308b1bf99" providerId="ADAL" clId="{8CFFDC90-380E-44A1-8770-9B3D799A835E}" dt="2023-12-11T20:29:03.278" v="1373" actId="47"/>
        <pc:sldMkLst>
          <pc:docMk/>
          <pc:sldMk cId="3858587929" sldId="2145705583"/>
        </pc:sldMkLst>
      </pc:sldChg>
      <pc:sldChg chg="add del">
        <pc:chgData name="Ristey, John" userId="332565b3-ba65-4c97-b7a2-fe0308b1bf99" providerId="ADAL" clId="{8CFFDC90-380E-44A1-8770-9B3D799A835E}" dt="2023-12-11T20:29:03.278" v="1373" actId="47"/>
        <pc:sldMkLst>
          <pc:docMk/>
          <pc:sldMk cId="1051907589" sldId="2145705584"/>
        </pc:sldMkLst>
      </pc:sldChg>
      <pc:sldChg chg="add del">
        <pc:chgData name="Ristey, John" userId="332565b3-ba65-4c97-b7a2-fe0308b1bf99" providerId="ADAL" clId="{8CFFDC90-380E-44A1-8770-9B3D799A835E}" dt="2023-12-11T20:29:03.278" v="1373" actId="47"/>
        <pc:sldMkLst>
          <pc:docMk/>
          <pc:sldMk cId="653668281" sldId="2145705585"/>
        </pc:sldMkLst>
      </pc:sldChg>
      <pc:sldChg chg="add del">
        <pc:chgData name="Ristey, John" userId="332565b3-ba65-4c97-b7a2-fe0308b1bf99" providerId="ADAL" clId="{8CFFDC90-380E-44A1-8770-9B3D799A835E}" dt="2023-12-11T20:29:03.278" v="1373" actId="47"/>
        <pc:sldMkLst>
          <pc:docMk/>
          <pc:sldMk cId="3728218397" sldId="2145705586"/>
        </pc:sldMkLst>
      </pc:sldChg>
      <pc:sldChg chg="delSp modSp add mod delAnim modAnim">
        <pc:chgData name="Ristey, John" userId="332565b3-ba65-4c97-b7a2-fe0308b1bf99" providerId="ADAL" clId="{8CFFDC90-380E-44A1-8770-9B3D799A835E}" dt="2023-12-11T20:00:28.847" v="1220"/>
        <pc:sldMkLst>
          <pc:docMk/>
          <pc:sldMk cId="3243661752" sldId="2145705587"/>
        </pc:sldMkLst>
        <pc:spChg chg="mod">
          <ac:chgData name="Ristey, John" userId="332565b3-ba65-4c97-b7a2-fe0308b1bf99" providerId="ADAL" clId="{8CFFDC90-380E-44A1-8770-9B3D799A835E}" dt="2023-12-11T16:40:07.804" v="945" actId="1076"/>
          <ac:spMkLst>
            <pc:docMk/>
            <pc:sldMk cId="3243661752" sldId="2145705587"/>
            <ac:spMk id="5" creationId="{7DFE6AC6-2EDE-8D23-3E1C-FBDD14A8ED2A}"/>
          </ac:spMkLst>
        </pc:spChg>
        <pc:spChg chg="del">
          <ac:chgData name="Ristey, John" userId="332565b3-ba65-4c97-b7a2-fe0308b1bf99" providerId="ADAL" clId="{8CFFDC90-380E-44A1-8770-9B3D799A835E}" dt="2023-12-11T16:39:34.667" v="939" actId="478"/>
          <ac:spMkLst>
            <pc:docMk/>
            <pc:sldMk cId="3243661752" sldId="2145705587"/>
            <ac:spMk id="6" creationId="{BEB66A47-033C-FFAC-5249-8EE26C119D99}"/>
          </ac:spMkLst>
        </pc:spChg>
        <pc:cxnChg chg="del">
          <ac:chgData name="Ristey, John" userId="332565b3-ba65-4c97-b7a2-fe0308b1bf99" providerId="ADAL" clId="{8CFFDC90-380E-44A1-8770-9B3D799A835E}" dt="2023-12-11T16:39:43.488" v="942" actId="478"/>
          <ac:cxnSpMkLst>
            <pc:docMk/>
            <pc:sldMk cId="3243661752" sldId="2145705587"/>
            <ac:cxnSpMk id="7" creationId="{0B6DB8D3-D84A-256F-75E5-21D38AF07E68}"/>
          </ac:cxnSpMkLst>
        </pc:cxnChg>
      </pc:sldChg>
      <pc:sldChg chg="addSp modSp add mod modAnim">
        <pc:chgData name="Ristey, John" userId="332565b3-ba65-4c97-b7a2-fe0308b1bf99" providerId="ADAL" clId="{8CFFDC90-380E-44A1-8770-9B3D799A835E}" dt="2023-12-11T20:01:32.642" v="1222"/>
        <pc:sldMkLst>
          <pc:docMk/>
          <pc:sldMk cId="2123663430" sldId="2145705588"/>
        </pc:sldMkLst>
        <pc:spChg chg="add mod">
          <ac:chgData name="Ristey, John" userId="332565b3-ba65-4c97-b7a2-fe0308b1bf99" providerId="ADAL" clId="{8CFFDC90-380E-44A1-8770-9B3D799A835E}" dt="2023-12-11T16:54:03.366" v="1099" actId="1076"/>
          <ac:spMkLst>
            <pc:docMk/>
            <pc:sldMk cId="2123663430" sldId="2145705588"/>
            <ac:spMk id="5" creationId="{8D23EB99-D9A4-1A4B-F21D-36B1CAB13044}"/>
          </ac:spMkLst>
        </pc:spChg>
        <pc:picChg chg="add mod">
          <ac:chgData name="Ristey, John" userId="332565b3-ba65-4c97-b7a2-fe0308b1bf99" providerId="ADAL" clId="{8CFFDC90-380E-44A1-8770-9B3D799A835E}" dt="2023-12-11T16:52:23.266" v="1024" actId="1076"/>
          <ac:picMkLst>
            <pc:docMk/>
            <pc:sldMk cId="2123663430" sldId="2145705588"/>
            <ac:picMk id="4" creationId="{781A5CC2-09B0-3336-12B8-31ADE84BFF09}"/>
          </ac:picMkLst>
        </pc:picChg>
        <pc:cxnChg chg="add mod">
          <ac:chgData name="Ristey, John" userId="332565b3-ba65-4c97-b7a2-fe0308b1bf99" providerId="ADAL" clId="{8CFFDC90-380E-44A1-8770-9B3D799A835E}" dt="2023-12-11T16:52:41.443" v="1026" actId="1076"/>
          <ac:cxnSpMkLst>
            <pc:docMk/>
            <pc:sldMk cId="2123663430" sldId="2145705588"/>
            <ac:cxnSpMk id="6" creationId="{B4452DB8-0673-F67E-4B2F-82441C002ED9}"/>
          </ac:cxnSpMkLst>
        </pc:cxnChg>
      </pc:sldChg>
      <pc:sldChg chg="new">
        <pc:chgData name="Ristey, John" userId="332565b3-ba65-4c97-b7a2-fe0308b1bf99" providerId="ADAL" clId="{8CFFDC90-380E-44A1-8770-9B3D799A835E}" dt="2023-12-11T17:02:55.835" v="1171" actId="680"/>
        <pc:sldMkLst>
          <pc:docMk/>
          <pc:sldMk cId="1370245527" sldId="2145705589"/>
        </pc:sldMkLst>
      </pc:sldChg>
    </pc:docChg>
  </pc:docChgLst>
  <pc:docChgLst>
    <pc:chgData name="Ristey, John" userId="332565b3-ba65-4c97-b7a2-fe0308b1bf99" providerId="ADAL" clId="{87051AFC-D82A-43ED-A9D6-61B4AF96067E}"/>
    <pc:docChg chg="undo custSel addSld delSld modSld">
      <pc:chgData name="Ristey, John" userId="332565b3-ba65-4c97-b7a2-fe0308b1bf99" providerId="ADAL" clId="{87051AFC-D82A-43ED-A9D6-61B4AF96067E}" dt="2022-11-04T17:52:54.229" v="4360" actId="313"/>
      <pc:docMkLst>
        <pc:docMk/>
      </pc:docMkLst>
      <pc:sldChg chg="del">
        <pc:chgData name="Ristey, John" userId="332565b3-ba65-4c97-b7a2-fe0308b1bf99" providerId="ADAL" clId="{87051AFC-D82A-43ED-A9D6-61B4AF96067E}" dt="2022-11-03T17:11:07.987" v="0" actId="47"/>
        <pc:sldMkLst>
          <pc:docMk/>
          <pc:sldMk cId="2106924187" sldId="2076138744"/>
        </pc:sldMkLst>
      </pc:sldChg>
      <pc:sldChg chg="del">
        <pc:chgData name="Ristey, John" userId="332565b3-ba65-4c97-b7a2-fe0308b1bf99" providerId="ADAL" clId="{87051AFC-D82A-43ED-A9D6-61B4AF96067E}" dt="2022-11-03T17:11:07.987" v="0" actId="47"/>
        <pc:sldMkLst>
          <pc:docMk/>
          <pc:sldMk cId="4107404042" sldId="2076138754"/>
        </pc:sldMkLst>
      </pc:sldChg>
      <pc:sldChg chg="del">
        <pc:chgData name="Ristey, John" userId="332565b3-ba65-4c97-b7a2-fe0308b1bf99" providerId="ADAL" clId="{87051AFC-D82A-43ED-A9D6-61B4AF96067E}" dt="2022-11-03T17:11:07.987" v="0" actId="47"/>
        <pc:sldMkLst>
          <pc:docMk/>
          <pc:sldMk cId="3175058945" sldId="2076138756"/>
        </pc:sldMkLst>
      </pc:sldChg>
      <pc:sldChg chg="del">
        <pc:chgData name="Ristey, John" userId="332565b3-ba65-4c97-b7a2-fe0308b1bf99" providerId="ADAL" clId="{87051AFC-D82A-43ED-A9D6-61B4AF96067E}" dt="2022-11-03T17:11:07.987" v="0" actId="47"/>
        <pc:sldMkLst>
          <pc:docMk/>
          <pc:sldMk cId="1970909470" sldId="2076138757"/>
        </pc:sldMkLst>
      </pc:sldChg>
      <pc:sldChg chg="del">
        <pc:chgData name="Ristey, John" userId="332565b3-ba65-4c97-b7a2-fe0308b1bf99" providerId="ADAL" clId="{87051AFC-D82A-43ED-A9D6-61B4AF96067E}" dt="2022-11-03T17:11:07.987" v="0" actId="47"/>
        <pc:sldMkLst>
          <pc:docMk/>
          <pc:sldMk cId="3693384627" sldId="2076138759"/>
        </pc:sldMkLst>
      </pc:sldChg>
      <pc:sldChg chg="del">
        <pc:chgData name="Ristey, John" userId="332565b3-ba65-4c97-b7a2-fe0308b1bf99" providerId="ADAL" clId="{87051AFC-D82A-43ED-A9D6-61B4AF96067E}" dt="2022-11-03T17:11:07.987" v="0" actId="47"/>
        <pc:sldMkLst>
          <pc:docMk/>
          <pc:sldMk cId="3621164963" sldId="2076138770"/>
        </pc:sldMkLst>
      </pc:sldChg>
      <pc:sldChg chg="del">
        <pc:chgData name="Ristey, John" userId="332565b3-ba65-4c97-b7a2-fe0308b1bf99" providerId="ADAL" clId="{87051AFC-D82A-43ED-A9D6-61B4AF96067E}" dt="2022-11-03T17:11:07.987" v="0" actId="47"/>
        <pc:sldMkLst>
          <pc:docMk/>
          <pc:sldMk cId="4028951770" sldId="2145705471"/>
        </pc:sldMkLst>
      </pc:sldChg>
      <pc:sldChg chg="modSp mod">
        <pc:chgData name="Ristey, John" userId="332565b3-ba65-4c97-b7a2-fe0308b1bf99" providerId="ADAL" clId="{87051AFC-D82A-43ED-A9D6-61B4AF96067E}" dt="2022-11-03T17:11:39.371" v="75" actId="20577"/>
        <pc:sldMkLst>
          <pc:docMk/>
          <pc:sldMk cId="792058334" sldId="2145705560"/>
        </pc:sldMkLst>
        <pc:spChg chg="mod">
          <ac:chgData name="Ristey, John" userId="332565b3-ba65-4c97-b7a2-fe0308b1bf99" providerId="ADAL" clId="{87051AFC-D82A-43ED-A9D6-61B4AF96067E}" dt="2022-11-03T17:11:39.371" v="75" actId="20577"/>
          <ac:spMkLst>
            <pc:docMk/>
            <pc:sldMk cId="792058334" sldId="2145705560"/>
            <ac:spMk id="3" creationId="{D4C9B7F8-F06F-4E9B-95B5-B05974962BF0}"/>
          </ac:spMkLst>
        </pc:spChg>
        <pc:spChg chg="mod">
          <ac:chgData name="Ristey, John" userId="332565b3-ba65-4c97-b7a2-fe0308b1bf99" providerId="ADAL" clId="{87051AFC-D82A-43ED-A9D6-61B4AF96067E}" dt="2022-11-03T17:11:21.966" v="24" actId="20577"/>
          <ac:spMkLst>
            <pc:docMk/>
            <pc:sldMk cId="792058334" sldId="2145705560"/>
            <ac:spMk id="4" creationId="{1662E55D-4D82-4AC6-B19F-54FFC4102C35}"/>
          </ac:spMkLst>
        </pc:spChg>
        <pc:spChg chg="mod">
          <ac:chgData name="Ristey, John" userId="332565b3-ba65-4c97-b7a2-fe0308b1bf99" providerId="ADAL" clId="{87051AFC-D82A-43ED-A9D6-61B4AF96067E}" dt="2022-11-03T17:11:26.104" v="35" actId="20577"/>
          <ac:spMkLst>
            <pc:docMk/>
            <pc:sldMk cId="792058334" sldId="2145705560"/>
            <ac:spMk id="6" creationId="{CE314915-6DA6-49E4-AC3D-A0BC07D76337}"/>
          </ac:spMkLst>
        </pc:spChg>
        <pc:spChg chg="mod">
          <ac:chgData name="Ristey, John" userId="332565b3-ba65-4c97-b7a2-fe0308b1bf99" providerId="ADAL" clId="{87051AFC-D82A-43ED-A9D6-61B4AF96067E}" dt="2022-11-03T17:11:32.462" v="62" actId="20577"/>
          <ac:spMkLst>
            <pc:docMk/>
            <pc:sldMk cId="792058334" sldId="2145705560"/>
            <ac:spMk id="8" creationId="{6E25A3CA-BBCA-4111-8F80-F90EEDC44B3E}"/>
          </ac:spMkLst>
        </pc:spChg>
      </pc:sldChg>
      <pc:sldChg chg="modSp new mod">
        <pc:chgData name="Ristey, John" userId="332565b3-ba65-4c97-b7a2-fe0308b1bf99" providerId="ADAL" clId="{87051AFC-D82A-43ED-A9D6-61B4AF96067E}" dt="2022-11-03T17:15:42.446" v="562" actId="20577"/>
        <pc:sldMkLst>
          <pc:docMk/>
          <pc:sldMk cId="2494607175" sldId="2145705561"/>
        </pc:sldMkLst>
        <pc:spChg chg="mod">
          <ac:chgData name="Ristey, John" userId="332565b3-ba65-4c97-b7a2-fe0308b1bf99" providerId="ADAL" clId="{87051AFC-D82A-43ED-A9D6-61B4AF96067E}" dt="2022-11-03T17:15:42.446" v="562" actId="20577"/>
          <ac:spMkLst>
            <pc:docMk/>
            <pc:sldMk cId="2494607175" sldId="2145705561"/>
            <ac:spMk id="2" creationId="{5A69EDC0-3C65-40B5-B8A9-6EF8B4FD016B}"/>
          </ac:spMkLst>
        </pc:spChg>
        <pc:spChg chg="mod">
          <ac:chgData name="Ristey, John" userId="332565b3-ba65-4c97-b7a2-fe0308b1bf99" providerId="ADAL" clId="{87051AFC-D82A-43ED-A9D6-61B4AF96067E}" dt="2022-11-03T17:12:14.188" v="86" actId="20577"/>
          <ac:spMkLst>
            <pc:docMk/>
            <pc:sldMk cId="2494607175" sldId="2145705561"/>
            <ac:spMk id="3" creationId="{E9B2AEBE-D674-4C81-8E2E-5D3382699696}"/>
          </ac:spMkLst>
        </pc:spChg>
      </pc:sldChg>
      <pc:sldChg chg="modSp new mod">
        <pc:chgData name="Ristey, John" userId="332565b3-ba65-4c97-b7a2-fe0308b1bf99" providerId="ADAL" clId="{87051AFC-D82A-43ED-A9D6-61B4AF96067E}" dt="2022-11-03T17:24:57.437" v="1597" actId="20577"/>
        <pc:sldMkLst>
          <pc:docMk/>
          <pc:sldMk cId="2528724995" sldId="2145705562"/>
        </pc:sldMkLst>
        <pc:spChg chg="mod">
          <ac:chgData name="Ristey, John" userId="332565b3-ba65-4c97-b7a2-fe0308b1bf99" providerId="ADAL" clId="{87051AFC-D82A-43ED-A9D6-61B4AF96067E}" dt="2022-11-03T17:24:21.394" v="1585" actId="20577"/>
          <ac:spMkLst>
            <pc:docMk/>
            <pc:sldMk cId="2528724995" sldId="2145705562"/>
            <ac:spMk id="2" creationId="{E9B62CF3-E8FD-42C3-892E-93552D195BDD}"/>
          </ac:spMkLst>
        </pc:spChg>
        <pc:spChg chg="mod">
          <ac:chgData name="Ristey, John" userId="332565b3-ba65-4c97-b7a2-fe0308b1bf99" providerId="ADAL" clId="{87051AFC-D82A-43ED-A9D6-61B4AF96067E}" dt="2022-11-03T17:24:57.437" v="1597" actId="20577"/>
          <ac:spMkLst>
            <pc:docMk/>
            <pc:sldMk cId="2528724995" sldId="2145705562"/>
            <ac:spMk id="3" creationId="{65246340-EA8C-4976-803F-95C123931499}"/>
          </ac:spMkLst>
        </pc:spChg>
      </pc:sldChg>
      <pc:sldChg chg="addSp delSp modSp new mod setBg">
        <pc:chgData name="Ristey, John" userId="332565b3-ba65-4c97-b7a2-fe0308b1bf99" providerId="ADAL" clId="{87051AFC-D82A-43ED-A9D6-61B4AF96067E}" dt="2022-11-03T18:32:31.552" v="2010" actId="20577"/>
        <pc:sldMkLst>
          <pc:docMk/>
          <pc:sldMk cId="3731973321" sldId="2145705563"/>
        </pc:sldMkLst>
        <pc:spChg chg="del">
          <ac:chgData name="Ristey, John" userId="332565b3-ba65-4c97-b7a2-fe0308b1bf99" providerId="ADAL" clId="{87051AFC-D82A-43ED-A9D6-61B4AF96067E}" dt="2022-11-03T17:25:19.838" v="1599" actId="21"/>
          <ac:spMkLst>
            <pc:docMk/>
            <pc:sldMk cId="3731973321" sldId="2145705563"/>
            <ac:spMk id="2" creationId="{73911694-E2F9-4ECD-9A99-8F1B6E8C4BF9}"/>
          </ac:spMkLst>
        </pc:spChg>
        <pc:spChg chg="mod">
          <ac:chgData name="Ristey, John" userId="332565b3-ba65-4c97-b7a2-fe0308b1bf99" providerId="ADAL" clId="{87051AFC-D82A-43ED-A9D6-61B4AF96067E}" dt="2022-11-03T17:29:03.467" v="1651" actId="20577"/>
          <ac:spMkLst>
            <pc:docMk/>
            <pc:sldMk cId="3731973321" sldId="2145705563"/>
            <ac:spMk id="3" creationId="{6C69D2A5-01B0-4C86-8AD4-89E0F3AFF981}"/>
          </ac:spMkLst>
        </pc:spChg>
        <pc:spChg chg="add mod">
          <ac:chgData name="Ristey, John" userId="332565b3-ba65-4c97-b7a2-fe0308b1bf99" providerId="ADAL" clId="{87051AFC-D82A-43ED-A9D6-61B4AF96067E}" dt="2022-11-03T18:29:39.232" v="1952" actId="20577"/>
          <ac:spMkLst>
            <pc:docMk/>
            <pc:sldMk cId="3731973321" sldId="2145705563"/>
            <ac:spMk id="4" creationId="{09EDA75C-9DAB-4597-8214-F0E95FFFFF5E}"/>
          </ac:spMkLst>
        </pc:spChg>
        <pc:spChg chg="add del mod">
          <ac:chgData name="Ristey, John" userId="332565b3-ba65-4c97-b7a2-fe0308b1bf99" providerId="ADAL" clId="{87051AFC-D82A-43ED-A9D6-61B4AF96067E}" dt="2022-11-03T18:24:09.578" v="1782"/>
          <ac:spMkLst>
            <pc:docMk/>
            <pc:sldMk cId="3731973321" sldId="2145705563"/>
            <ac:spMk id="5" creationId="{D1A4CA48-428E-4124-B4F9-300A2EEDC1D7}"/>
          </ac:spMkLst>
        </pc:spChg>
        <pc:spChg chg="add del mod">
          <ac:chgData name="Ristey, John" userId="332565b3-ba65-4c97-b7a2-fe0308b1bf99" providerId="ADAL" clId="{87051AFC-D82A-43ED-A9D6-61B4AF96067E}" dt="2022-11-03T18:28:27.623" v="1894" actId="478"/>
          <ac:spMkLst>
            <pc:docMk/>
            <pc:sldMk cId="3731973321" sldId="2145705563"/>
            <ac:spMk id="6" creationId="{9F839F1F-EEA3-4FE9-A364-063635B3722C}"/>
          </ac:spMkLst>
        </pc:spChg>
        <pc:spChg chg="add mod">
          <ac:chgData name="Ristey, John" userId="332565b3-ba65-4c97-b7a2-fe0308b1bf99" providerId="ADAL" clId="{87051AFC-D82A-43ED-A9D6-61B4AF96067E}" dt="2022-11-03T18:29:41.839" v="1954" actId="20577"/>
          <ac:spMkLst>
            <pc:docMk/>
            <pc:sldMk cId="3731973321" sldId="2145705563"/>
            <ac:spMk id="7" creationId="{A34A1D90-F745-4C23-B2C7-A12843C6F25C}"/>
          </ac:spMkLst>
        </pc:spChg>
        <pc:spChg chg="add mod">
          <ac:chgData name="Ristey, John" userId="332565b3-ba65-4c97-b7a2-fe0308b1bf99" providerId="ADAL" clId="{87051AFC-D82A-43ED-A9D6-61B4AF96067E}" dt="2022-11-03T18:30:07.967" v="2000" actId="20577"/>
          <ac:spMkLst>
            <pc:docMk/>
            <pc:sldMk cId="3731973321" sldId="2145705563"/>
            <ac:spMk id="8" creationId="{88626EF7-2D83-4779-879C-3398ACC72E2C}"/>
          </ac:spMkLst>
        </pc:spChg>
        <pc:spChg chg="add mod">
          <ac:chgData name="Ristey, John" userId="332565b3-ba65-4c97-b7a2-fe0308b1bf99" providerId="ADAL" clId="{87051AFC-D82A-43ED-A9D6-61B4AF96067E}" dt="2022-11-03T18:32:31.552" v="2010" actId="20577"/>
          <ac:spMkLst>
            <pc:docMk/>
            <pc:sldMk cId="3731973321" sldId="2145705563"/>
            <ac:spMk id="9" creationId="{E335417C-8582-4B6C-A190-E3BB044564BA}"/>
          </ac:spMkLst>
        </pc:spChg>
      </pc:sldChg>
      <pc:sldChg chg="addSp delSp modSp add mod">
        <pc:chgData name="Ristey, John" userId="332565b3-ba65-4c97-b7a2-fe0308b1bf99" providerId="ADAL" clId="{87051AFC-D82A-43ED-A9D6-61B4AF96067E}" dt="2022-11-04T17:52:54.229" v="4360" actId="313"/>
        <pc:sldMkLst>
          <pc:docMk/>
          <pc:sldMk cId="2786135272" sldId="2145705564"/>
        </pc:sldMkLst>
        <pc:spChg chg="add mod">
          <ac:chgData name="Ristey, John" userId="332565b3-ba65-4c97-b7a2-fe0308b1bf99" providerId="ADAL" clId="{87051AFC-D82A-43ED-A9D6-61B4AF96067E}" dt="2022-11-04T17:52:54.229" v="4360" actId="313"/>
          <ac:spMkLst>
            <pc:docMk/>
            <pc:sldMk cId="2786135272" sldId="2145705564"/>
            <ac:spMk id="2" creationId="{D5CB9019-D080-467D-924D-597B612B5706}"/>
          </ac:spMkLst>
        </pc:spChg>
        <pc:spChg chg="mod">
          <ac:chgData name="Ristey, John" userId="332565b3-ba65-4c97-b7a2-fe0308b1bf99" providerId="ADAL" clId="{87051AFC-D82A-43ED-A9D6-61B4AF96067E}" dt="2022-11-03T19:21:12.291" v="2136" actId="20577"/>
          <ac:spMkLst>
            <pc:docMk/>
            <pc:sldMk cId="2786135272" sldId="2145705564"/>
            <ac:spMk id="3" creationId="{6C69D2A5-01B0-4C86-8AD4-89E0F3AFF981}"/>
          </ac:spMkLst>
        </pc:spChg>
        <pc:spChg chg="mod">
          <ac:chgData name="Ristey, John" userId="332565b3-ba65-4c97-b7a2-fe0308b1bf99" providerId="ADAL" clId="{87051AFC-D82A-43ED-A9D6-61B4AF96067E}" dt="2022-11-03T19:48:32.450" v="2957" actId="1035"/>
          <ac:spMkLst>
            <pc:docMk/>
            <pc:sldMk cId="2786135272" sldId="2145705564"/>
            <ac:spMk id="4" creationId="{09EDA75C-9DAB-4597-8214-F0E95FFFFF5E}"/>
          </ac:spMkLst>
        </pc:spChg>
        <pc:spChg chg="del">
          <ac:chgData name="Ristey, John" userId="332565b3-ba65-4c97-b7a2-fe0308b1bf99" providerId="ADAL" clId="{87051AFC-D82A-43ED-A9D6-61B4AF96067E}" dt="2022-11-03T19:26:12.055" v="2313" actId="478"/>
          <ac:spMkLst>
            <pc:docMk/>
            <pc:sldMk cId="2786135272" sldId="2145705564"/>
            <ac:spMk id="7" creationId="{A34A1D90-F745-4C23-B2C7-A12843C6F25C}"/>
          </ac:spMkLst>
        </pc:spChg>
        <pc:spChg chg="del mod">
          <ac:chgData name="Ristey, John" userId="332565b3-ba65-4c97-b7a2-fe0308b1bf99" providerId="ADAL" clId="{87051AFC-D82A-43ED-A9D6-61B4AF96067E}" dt="2022-11-03T19:26:17.573" v="2317" actId="478"/>
          <ac:spMkLst>
            <pc:docMk/>
            <pc:sldMk cId="2786135272" sldId="2145705564"/>
            <ac:spMk id="8" creationId="{88626EF7-2D83-4779-879C-3398ACC72E2C}"/>
          </ac:spMkLst>
        </pc:spChg>
        <pc:spChg chg="del mod">
          <ac:chgData name="Ristey, John" userId="332565b3-ba65-4c97-b7a2-fe0308b1bf99" providerId="ADAL" clId="{87051AFC-D82A-43ED-A9D6-61B4AF96067E}" dt="2022-11-03T19:26:16.171" v="2316" actId="478"/>
          <ac:spMkLst>
            <pc:docMk/>
            <pc:sldMk cId="2786135272" sldId="2145705564"/>
            <ac:spMk id="9" creationId="{E335417C-8582-4B6C-A190-E3BB044564BA}"/>
          </ac:spMkLst>
        </pc:spChg>
        <pc:spChg chg="add mod">
          <ac:chgData name="Ristey, John" userId="332565b3-ba65-4c97-b7a2-fe0308b1bf99" providerId="ADAL" clId="{87051AFC-D82A-43ED-A9D6-61B4AF96067E}" dt="2022-11-03T19:48:32.450" v="2957" actId="1035"/>
          <ac:spMkLst>
            <pc:docMk/>
            <pc:sldMk cId="2786135272" sldId="2145705564"/>
            <ac:spMk id="10" creationId="{FB52F755-4E15-45DC-97E4-1815F644EE34}"/>
          </ac:spMkLst>
        </pc:spChg>
      </pc:sldChg>
      <pc:sldChg chg="addSp modSp new mod">
        <pc:chgData name="Ristey, John" userId="332565b3-ba65-4c97-b7a2-fe0308b1bf99" providerId="ADAL" clId="{87051AFC-D82A-43ED-A9D6-61B4AF96067E}" dt="2022-11-03T19:36:28.488" v="2583" actId="20577"/>
        <pc:sldMkLst>
          <pc:docMk/>
          <pc:sldMk cId="675011035" sldId="2145705565"/>
        </pc:sldMkLst>
        <pc:spChg chg="mod">
          <ac:chgData name="Ristey, John" userId="332565b3-ba65-4c97-b7a2-fe0308b1bf99" providerId="ADAL" clId="{87051AFC-D82A-43ED-A9D6-61B4AF96067E}" dt="2022-11-03T19:36:28.488" v="2583" actId="20577"/>
          <ac:spMkLst>
            <pc:docMk/>
            <pc:sldMk cId="675011035" sldId="2145705565"/>
            <ac:spMk id="2" creationId="{0B0640DB-4129-41BD-8223-443E549CAC06}"/>
          </ac:spMkLst>
        </pc:spChg>
        <pc:picChg chg="add mod">
          <ac:chgData name="Ristey, John" userId="332565b3-ba65-4c97-b7a2-fe0308b1bf99" providerId="ADAL" clId="{87051AFC-D82A-43ED-A9D6-61B4AF96067E}" dt="2022-11-03T19:36:15.982" v="2571" actId="692"/>
          <ac:picMkLst>
            <pc:docMk/>
            <pc:sldMk cId="675011035" sldId="2145705565"/>
            <ac:picMk id="4" creationId="{CD07C3F6-03B0-4743-BAD8-C7A6CEC99690}"/>
          </ac:picMkLst>
        </pc:picChg>
      </pc:sldChg>
      <pc:sldChg chg="delSp modSp add mod">
        <pc:chgData name="Ristey, John" userId="332565b3-ba65-4c97-b7a2-fe0308b1bf99" providerId="ADAL" clId="{87051AFC-D82A-43ED-A9D6-61B4AF96067E}" dt="2022-11-03T19:59:23.934" v="3330" actId="14100"/>
        <pc:sldMkLst>
          <pc:docMk/>
          <pc:sldMk cId="170133876" sldId="2145705566"/>
        </pc:sldMkLst>
        <pc:spChg chg="mod">
          <ac:chgData name="Ristey, John" userId="332565b3-ba65-4c97-b7a2-fe0308b1bf99" providerId="ADAL" clId="{87051AFC-D82A-43ED-A9D6-61B4AF96067E}" dt="2022-11-03T19:58:15.546" v="3319" actId="20577"/>
          <ac:spMkLst>
            <pc:docMk/>
            <pc:sldMk cId="170133876" sldId="2145705566"/>
            <ac:spMk id="2" creationId="{D5CB9019-D080-467D-924D-597B612B5706}"/>
          </ac:spMkLst>
        </pc:spChg>
        <pc:spChg chg="mod">
          <ac:chgData name="Ristey, John" userId="332565b3-ba65-4c97-b7a2-fe0308b1bf99" providerId="ADAL" clId="{87051AFC-D82A-43ED-A9D6-61B4AF96067E}" dt="2022-11-03T19:53:03.892" v="3017" actId="20577"/>
          <ac:spMkLst>
            <pc:docMk/>
            <pc:sldMk cId="170133876" sldId="2145705566"/>
            <ac:spMk id="3" creationId="{6C69D2A5-01B0-4C86-8AD4-89E0F3AFF981}"/>
          </ac:spMkLst>
        </pc:spChg>
        <pc:spChg chg="mod">
          <ac:chgData name="Ristey, John" userId="332565b3-ba65-4c97-b7a2-fe0308b1bf99" providerId="ADAL" clId="{87051AFC-D82A-43ED-A9D6-61B4AF96067E}" dt="2022-11-03T19:59:23.934" v="3330" actId="14100"/>
          <ac:spMkLst>
            <pc:docMk/>
            <pc:sldMk cId="170133876" sldId="2145705566"/>
            <ac:spMk id="4" creationId="{09EDA75C-9DAB-4597-8214-F0E95FFFFF5E}"/>
          </ac:spMkLst>
        </pc:spChg>
        <pc:spChg chg="del">
          <ac:chgData name="Ristey, John" userId="332565b3-ba65-4c97-b7a2-fe0308b1bf99" providerId="ADAL" clId="{87051AFC-D82A-43ED-A9D6-61B4AF96067E}" dt="2022-11-03T19:53:24.155" v="3020" actId="478"/>
          <ac:spMkLst>
            <pc:docMk/>
            <pc:sldMk cId="170133876" sldId="2145705566"/>
            <ac:spMk id="10" creationId="{FB52F755-4E15-45DC-97E4-1815F644EE34}"/>
          </ac:spMkLst>
        </pc:spChg>
      </pc:sldChg>
      <pc:sldChg chg="addSp delSp modSp add mod">
        <pc:chgData name="Ristey, John" userId="332565b3-ba65-4c97-b7a2-fe0308b1bf99" providerId="ADAL" clId="{87051AFC-D82A-43ED-A9D6-61B4AF96067E}" dt="2022-11-03T20:32:41.492" v="3818" actId="20577"/>
        <pc:sldMkLst>
          <pc:docMk/>
          <pc:sldMk cId="153199258" sldId="2145705567"/>
        </pc:sldMkLst>
        <pc:spChg chg="mod">
          <ac:chgData name="Ristey, John" userId="332565b3-ba65-4c97-b7a2-fe0308b1bf99" providerId="ADAL" clId="{87051AFC-D82A-43ED-A9D6-61B4AF96067E}" dt="2022-11-03T20:32:41.492" v="3818" actId="20577"/>
          <ac:spMkLst>
            <pc:docMk/>
            <pc:sldMk cId="153199258" sldId="2145705567"/>
            <ac:spMk id="2" creationId="{D5CB9019-D080-467D-924D-597B612B5706}"/>
          </ac:spMkLst>
        </pc:spChg>
        <pc:spChg chg="mod">
          <ac:chgData name="Ristey, John" userId="332565b3-ba65-4c97-b7a2-fe0308b1bf99" providerId="ADAL" clId="{87051AFC-D82A-43ED-A9D6-61B4AF96067E}" dt="2022-11-03T19:59:09.634" v="3323" actId="20577"/>
          <ac:spMkLst>
            <pc:docMk/>
            <pc:sldMk cId="153199258" sldId="2145705567"/>
            <ac:spMk id="3" creationId="{6C69D2A5-01B0-4C86-8AD4-89E0F3AFF981}"/>
          </ac:spMkLst>
        </pc:spChg>
        <pc:spChg chg="mod">
          <ac:chgData name="Ristey, John" userId="332565b3-ba65-4c97-b7a2-fe0308b1bf99" providerId="ADAL" clId="{87051AFC-D82A-43ED-A9D6-61B4AF96067E}" dt="2022-11-03T20:27:18.047" v="3420" actId="20577"/>
          <ac:spMkLst>
            <pc:docMk/>
            <pc:sldMk cId="153199258" sldId="2145705567"/>
            <ac:spMk id="4" creationId="{09EDA75C-9DAB-4597-8214-F0E95FFFFF5E}"/>
          </ac:spMkLst>
        </pc:spChg>
        <pc:spChg chg="add del mod">
          <ac:chgData name="Ristey, John" userId="332565b3-ba65-4c97-b7a2-fe0308b1bf99" providerId="ADAL" clId="{87051AFC-D82A-43ED-A9D6-61B4AF96067E}" dt="2022-11-03T20:27:58.148" v="3491" actId="20577"/>
          <ac:spMkLst>
            <pc:docMk/>
            <pc:sldMk cId="153199258" sldId="2145705567"/>
            <ac:spMk id="5" creationId="{7D9552A2-3655-4970-B60A-A3E3B645832A}"/>
          </ac:spMkLst>
        </pc:spChg>
      </pc:sldChg>
      <pc:sldChg chg="modSp add mod">
        <pc:chgData name="Ristey, John" userId="332565b3-ba65-4c97-b7a2-fe0308b1bf99" providerId="ADAL" clId="{87051AFC-D82A-43ED-A9D6-61B4AF96067E}" dt="2022-11-04T13:52:37.530" v="4230" actId="20577"/>
        <pc:sldMkLst>
          <pc:docMk/>
          <pc:sldMk cId="3305622321" sldId="2145705568"/>
        </pc:sldMkLst>
        <pc:spChg chg="mod">
          <ac:chgData name="Ristey, John" userId="332565b3-ba65-4c97-b7a2-fe0308b1bf99" providerId="ADAL" clId="{87051AFC-D82A-43ED-A9D6-61B4AF96067E}" dt="2022-11-04T13:52:37.530" v="4230" actId="20577"/>
          <ac:spMkLst>
            <pc:docMk/>
            <pc:sldMk cId="3305622321" sldId="2145705568"/>
            <ac:spMk id="2" creationId="{E9B62CF3-E8FD-42C3-892E-93552D195BDD}"/>
          </ac:spMkLst>
        </pc:spChg>
        <pc:spChg chg="mod">
          <ac:chgData name="Ristey, John" userId="332565b3-ba65-4c97-b7a2-fe0308b1bf99" providerId="ADAL" clId="{87051AFC-D82A-43ED-A9D6-61B4AF96067E}" dt="2022-11-04T13:46:25.136" v="3842" actId="20577"/>
          <ac:spMkLst>
            <pc:docMk/>
            <pc:sldMk cId="3305622321" sldId="2145705568"/>
            <ac:spMk id="3" creationId="{65246340-EA8C-4976-803F-95C123931499}"/>
          </ac:spMkLst>
        </pc:spChg>
      </pc:sldChg>
      <pc:sldChg chg="del">
        <pc:chgData name="Ristey, John" userId="332565b3-ba65-4c97-b7a2-fe0308b1bf99" providerId="ADAL" clId="{87051AFC-D82A-43ED-A9D6-61B4AF96067E}" dt="2022-11-03T17:11:07.987" v="0" actId="47"/>
        <pc:sldMkLst>
          <pc:docMk/>
          <pc:sldMk cId="4121325161" sldId="2147374083"/>
        </pc:sldMkLst>
      </pc:sldChg>
      <pc:sldChg chg="del">
        <pc:chgData name="Ristey, John" userId="332565b3-ba65-4c97-b7a2-fe0308b1bf99" providerId="ADAL" clId="{87051AFC-D82A-43ED-A9D6-61B4AF96067E}" dt="2022-11-03T17:11:07.987" v="0" actId="47"/>
        <pc:sldMkLst>
          <pc:docMk/>
          <pc:sldMk cId="2813464081" sldId="2147374574"/>
        </pc:sldMkLst>
      </pc:sldChg>
      <pc:sldChg chg="del">
        <pc:chgData name="Ristey, John" userId="332565b3-ba65-4c97-b7a2-fe0308b1bf99" providerId="ADAL" clId="{87051AFC-D82A-43ED-A9D6-61B4AF96067E}" dt="2022-11-03T17:11:07.987" v="0" actId="47"/>
        <pc:sldMkLst>
          <pc:docMk/>
          <pc:sldMk cId="1305132254" sldId="2147374575"/>
        </pc:sldMkLst>
      </pc:sldChg>
      <pc:sldChg chg="del">
        <pc:chgData name="Ristey, John" userId="332565b3-ba65-4c97-b7a2-fe0308b1bf99" providerId="ADAL" clId="{87051AFC-D82A-43ED-A9D6-61B4AF96067E}" dt="2022-11-03T17:11:07.987" v="0" actId="47"/>
        <pc:sldMkLst>
          <pc:docMk/>
          <pc:sldMk cId="2524941928" sldId="2147374577"/>
        </pc:sldMkLst>
      </pc:sldChg>
      <pc:sldChg chg="del">
        <pc:chgData name="Ristey, John" userId="332565b3-ba65-4c97-b7a2-fe0308b1bf99" providerId="ADAL" clId="{87051AFC-D82A-43ED-A9D6-61B4AF96067E}" dt="2022-11-03T17:11:07.987" v="0" actId="47"/>
        <pc:sldMkLst>
          <pc:docMk/>
          <pc:sldMk cId="2193320452" sldId="2147374578"/>
        </pc:sldMkLst>
      </pc:sldChg>
      <pc:sldChg chg="del">
        <pc:chgData name="Ristey, John" userId="332565b3-ba65-4c97-b7a2-fe0308b1bf99" providerId="ADAL" clId="{87051AFC-D82A-43ED-A9D6-61B4AF96067E}" dt="2022-11-03T17:11:07.987" v="0" actId="47"/>
        <pc:sldMkLst>
          <pc:docMk/>
          <pc:sldMk cId="752098851" sldId="2147374594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224B0B-B14D-40AC-82DF-F3306E84CD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87035F-7A70-47F4-BE9C-22A896CD4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4D8EA7-7DA4-4945-AC0B-1C137F860C15}" type="datetimeFigureOut">
              <a:rPr lang="es-PE" smtClean="0">
                <a:latin typeface="PTCRaleway" panose="020B0503030101060003" pitchFamily="34" charset="0"/>
              </a:rPr>
              <a:t>12/12/2023</a:t>
            </a:fld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1217F-1BC1-4AA5-8B2B-5ECC481CC3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F08F94-7F82-4A63-917E-74383B6A0A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76B9F4-9710-4869-B60C-B0B61D2780E4}" type="slidenum">
              <a:rPr lang="es-PE" smtClean="0">
                <a:latin typeface="PTCRaleway" panose="020B0503030101060003" pitchFamily="34" charset="0"/>
              </a:rPr>
              <a:t>‹#›</a:t>
            </a:fld>
            <a:endParaRPr lang="es-PE" dirty="0">
              <a:latin typeface="PTCRaleway" panose="020B050303010106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4653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AC5DD82D-684E-4FFB-8320-B8CCB1AF24EB}" type="datetimeFigureOut">
              <a:rPr lang="en-US" smtClean="0"/>
              <a:pPr/>
              <a:t>12/12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D1F37E36-7D7C-4671-B3B8-2BFBF9F6F7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16443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F37E36-7D7C-4671-B3B8-2BFBF9F6F7FB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09872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7" Type="http://schemas.openxmlformats.org/officeDocument/2006/relationships/image" Target="../media/image6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6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5.png"/><Relationship Id="rId3" Type="http://schemas.openxmlformats.org/officeDocument/2006/relationships/hyperlink" Target="https://facebook.com/ptc.inc" TargetMode="External"/><Relationship Id="rId7" Type="http://schemas.openxmlformats.org/officeDocument/2006/relationships/hyperlink" Target="https://www.linkedin.com/company/ptc/" TargetMode="External"/><Relationship Id="rId12" Type="http://schemas.openxmlformats.org/officeDocument/2006/relationships/image" Target="../media/image24.svg"/><Relationship Id="rId2" Type="http://schemas.openxmlformats.org/officeDocument/2006/relationships/hyperlink" Target="https://www.ptc.com/" TargetMode="External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0.png"/><Relationship Id="rId11" Type="http://schemas.openxmlformats.org/officeDocument/2006/relationships/image" Target="../media/image23.png"/><Relationship Id="rId5" Type="http://schemas.openxmlformats.org/officeDocument/2006/relationships/hyperlink" Target="https://twitter.com/ptc" TargetMode="External"/><Relationship Id="rId10" Type="http://schemas.openxmlformats.org/officeDocument/2006/relationships/image" Target="../media/image22.png"/><Relationship Id="rId4" Type="http://schemas.openxmlformats.org/officeDocument/2006/relationships/image" Target="../media/image19.png"/><Relationship Id="rId9" Type="http://schemas.openxmlformats.org/officeDocument/2006/relationships/hyperlink" Target="https://youtube.com/ptc" TargetMode="Externa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jp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ov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8309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0310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2944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7342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27800727-BEFA-4199-BF3F-02A14E0B6D1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44D04B69-3461-456B-9C67-C24F2C048941}"/>
              </a:ext>
            </a:extLst>
          </p:cNvPr>
          <p:cNvGrpSpPr/>
          <p:nvPr userDrawn="1"/>
        </p:nvGrpSpPr>
        <p:grpSpPr>
          <a:xfrm>
            <a:off x="5098163" y="-455836"/>
            <a:ext cx="8421905" cy="7945936"/>
            <a:chOff x="5098163" y="-455836"/>
            <a:chExt cx="8421905" cy="7945936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C129301-6BBC-4CFE-9A5C-0F22F93AF184}"/>
                </a:ext>
              </a:extLst>
            </p:cNvPr>
            <p:cNvSpPr/>
            <p:nvPr userDrawn="1"/>
          </p:nvSpPr>
          <p:spPr>
            <a:xfrm rot="13821780">
              <a:off x="5239135" y="-596808"/>
              <a:ext cx="5190684" cy="5472628"/>
            </a:xfrm>
            <a:custGeom>
              <a:avLst/>
              <a:gdLst>
                <a:gd name="connsiteX0" fmla="*/ 5190684 w 5190684"/>
                <a:gd name="connsiteY0" fmla="*/ 2965814 h 5472628"/>
                <a:gd name="connsiteX1" fmla="*/ 3114139 w 5190684"/>
                <a:gd name="connsiteY1" fmla="*/ 5472628 h 5472628"/>
                <a:gd name="connsiteX2" fmla="*/ 0 w 5190684"/>
                <a:gd name="connsiteY2" fmla="*/ 0 h 5472628"/>
                <a:gd name="connsiteX3" fmla="*/ 3133747 w 5190684"/>
                <a:gd name="connsiteY3" fmla="*/ 0 h 5472628"/>
                <a:gd name="connsiteX4" fmla="*/ 3518511 w 5190684"/>
                <a:gd name="connsiteY4" fmla="*/ 169 h 5472628"/>
                <a:gd name="connsiteX5" fmla="*/ 5190684 w 5190684"/>
                <a:gd name="connsiteY5" fmla="*/ 2965814 h 5472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90684" h="5472628">
                  <a:moveTo>
                    <a:pt x="5190684" y="2965814"/>
                  </a:moveTo>
                  <a:lnTo>
                    <a:pt x="3114139" y="5472628"/>
                  </a:lnTo>
                  <a:lnTo>
                    <a:pt x="0" y="0"/>
                  </a:lnTo>
                  <a:lnTo>
                    <a:pt x="3133747" y="0"/>
                  </a:lnTo>
                  <a:lnTo>
                    <a:pt x="3518511" y="169"/>
                  </a:lnTo>
                  <a:lnTo>
                    <a:pt x="5190684" y="2965814"/>
                  </a:lnTo>
                  <a:close/>
                </a:path>
              </a:pathLst>
            </a:custGeom>
            <a:solidFill>
              <a:schemeClr val="tx1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800"/>
                </a:spcBef>
              </a:pP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0246A04-13C7-4E8A-8E30-D7498D20B5FA}"/>
                </a:ext>
              </a:extLst>
            </p:cNvPr>
            <p:cNvSpPr/>
            <p:nvPr userDrawn="1"/>
          </p:nvSpPr>
          <p:spPr>
            <a:xfrm rot="13821780">
              <a:off x="8007792" y="1977824"/>
              <a:ext cx="5029645" cy="5994907"/>
            </a:xfrm>
            <a:custGeom>
              <a:avLst/>
              <a:gdLst>
                <a:gd name="connsiteX0" fmla="*/ 3516449 w 5029645"/>
                <a:gd name="connsiteY0" fmla="*/ 5994907 h 5994907"/>
                <a:gd name="connsiteX1" fmla="*/ 1394416 w 5029645"/>
                <a:gd name="connsiteY1" fmla="*/ 4237097 h 5994907"/>
                <a:gd name="connsiteX2" fmla="*/ 1677138 w 5029645"/>
                <a:gd name="connsiteY2" fmla="*/ 3756672 h 5994907"/>
                <a:gd name="connsiteX3" fmla="*/ 1317698 w 5029645"/>
                <a:gd name="connsiteY3" fmla="*/ 3124534 h 5994907"/>
                <a:gd name="connsiteX4" fmla="*/ 920847 w 5029645"/>
                <a:gd name="connsiteY4" fmla="*/ 3844814 h 5994907"/>
                <a:gd name="connsiteX5" fmla="*/ 280815 w 5029645"/>
                <a:gd name="connsiteY5" fmla="*/ 3314638 h 5994907"/>
                <a:gd name="connsiteX6" fmla="*/ 280817 w 5029645"/>
                <a:gd name="connsiteY6" fmla="*/ 3314636 h 5994907"/>
                <a:gd name="connsiteX7" fmla="*/ 0 w 5029645"/>
                <a:gd name="connsiteY7" fmla="*/ 3082019 h 5994907"/>
                <a:gd name="connsiteX8" fmla="*/ 2553021 w 5029645"/>
                <a:gd name="connsiteY8" fmla="*/ 0 h 5994907"/>
                <a:gd name="connsiteX9" fmla="*/ 3082168 w 5029645"/>
                <a:gd name="connsiteY9" fmla="*/ 0 h 5994907"/>
                <a:gd name="connsiteX10" fmla="*/ 3870352 w 5029645"/>
                <a:gd name="connsiteY10" fmla="*/ 1377053 h 5994907"/>
                <a:gd name="connsiteX11" fmla="*/ 5029645 w 5029645"/>
                <a:gd name="connsiteY11" fmla="*/ 3437574 h 5994907"/>
                <a:gd name="connsiteX12" fmla="*/ 3516449 w 5029645"/>
                <a:gd name="connsiteY12" fmla="*/ 5994907 h 5994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29645" h="5994907">
                  <a:moveTo>
                    <a:pt x="3516449" y="5994907"/>
                  </a:moveTo>
                  <a:lnTo>
                    <a:pt x="1394416" y="4237097"/>
                  </a:lnTo>
                  <a:lnTo>
                    <a:pt x="1677138" y="3756672"/>
                  </a:lnTo>
                  <a:lnTo>
                    <a:pt x="1317698" y="3124534"/>
                  </a:lnTo>
                  <a:lnTo>
                    <a:pt x="920847" y="3844814"/>
                  </a:lnTo>
                  <a:lnTo>
                    <a:pt x="280815" y="3314638"/>
                  </a:lnTo>
                  <a:lnTo>
                    <a:pt x="280817" y="3314636"/>
                  </a:lnTo>
                  <a:lnTo>
                    <a:pt x="0" y="3082019"/>
                  </a:lnTo>
                  <a:lnTo>
                    <a:pt x="2553021" y="0"/>
                  </a:lnTo>
                  <a:lnTo>
                    <a:pt x="3082168" y="0"/>
                  </a:lnTo>
                  <a:lnTo>
                    <a:pt x="3870352" y="1377053"/>
                  </a:lnTo>
                  <a:lnTo>
                    <a:pt x="5029645" y="3437574"/>
                  </a:lnTo>
                  <a:lnTo>
                    <a:pt x="3516449" y="5994907"/>
                  </a:lnTo>
                  <a:close/>
                </a:path>
              </a:pathLst>
            </a:custGeom>
            <a:solidFill>
              <a:schemeClr val="bg2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800"/>
                </a:spcBef>
              </a:pP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97B8AF6A-3398-417E-818C-E716D2C905C4}"/>
                </a:ext>
              </a:extLst>
            </p:cNvPr>
            <p:cNvSpPr/>
            <p:nvPr userDrawn="1"/>
          </p:nvSpPr>
          <p:spPr>
            <a:xfrm>
              <a:off x="9497710" y="0"/>
              <a:ext cx="2694290" cy="2106092"/>
            </a:xfrm>
            <a:custGeom>
              <a:avLst/>
              <a:gdLst>
                <a:gd name="connsiteX0" fmla="*/ 802401 w 2694290"/>
                <a:gd name="connsiteY0" fmla="*/ 0 h 2106092"/>
                <a:gd name="connsiteX1" fmla="*/ 2694290 w 2694290"/>
                <a:gd name="connsiteY1" fmla="*/ 0 h 2106092"/>
                <a:gd name="connsiteX2" fmla="*/ 2694290 w 2694290"/>
                <a:gd name="connsiteY2" fmla="*/ 1678210 h 2106092"/>
                <a:gd name="connsiteX3" fmla="*/ 0 w 2694290"/>
                <a:gd name="connsiteY3" fmla="*/ 2106092 h 2106092"/>
                <a:gd name="connsiteX4" fmla="*/ 802401 w 2694290"/>
                <a:gd name="connsiteY4" fmla="*/ 0 h 2106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94290" h="2106092">
                  <a:moveTo>
                    <a:pt x="802401" y="0"/>
                  </a:moveTo>
                  <a:lnTo>
                    <a:pt x="2694290" y="0"/>
                  </a:lnTo>
                  <a:lnTo>
                    <a:pt x="2694290" y="1678210"/>
                  </a:lnTo>
                  <a:lnTo>
                    <a:pt x="0" y="2106092"/>
                  </a:lnTo>
                  <a:lnTo>
                    <a:pt x="802401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628135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D85CB9A-4B6E-46D5-93C1-6B94E6EC799C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 dirty="0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dirty="0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dirty="0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61364" y="3186507"/>
            <a:ext cx="7095744" cy="1402435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44" y="3130080"/>
            <a:ext cx="3029331" cy="151528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96112" indent="-228600"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143000" indent="-228600">
              <a:buFontTx/>
              <a:buBlip>
                <a:blip r:embed="rId5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dirty="0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B629DC23-4580-422E-9524-A6BDD0FBEEB4}"/>
              </a:ext>
            </a:extLst>
          </p:cNvPr>
          <p:cNvGrpSpPr/>
          <p:nvPr userDrawn="1"/>
        </p:nvGrpSpPr>
        <p:grpSpPr>
          <a:xfrm>
            <a:off x="3505373" y="2988934"/>
            <a:ext cx="478233" cy="3067294"/>
            <a:chOff x="3543714" y="2978301"/>
            <a:chExt cx="478233" cy="3067294"/>
          </a:xfrm>
        </p:grpSpPr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6558BD-2FE6-4824-9681-AC6B50FC2825}"/>
                </a:ext>
              </a:extLst>
            </p:cNvPr>
            <p:cNvCxnSpPr/>
            <p:nvPr userDrawn="1"/>
          </p:nvCxnSpPr>
          <p:spPr>
            <a:xfrm>
              <a:off x="4018231" y="2978301"/>
              <a:ext cx="0" cy="3063244"/>
            </a:xfrm>
            <a:prstGeom prst="line">
              <a:avLst/>
            </a:prstGeom>
            <a:ln w="3175">
              <a:solidFill>
                <a:srgbClr val="80888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290F29F5-4529-4B00-A185-F237BA88D7D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018231" y="5043883"/>
              <a:ext cx="0" cy="1001712"/>
            </a:xfrm>
            <a:prstGeom prst="line">
              <a:avLst/>
            </a:prstGeom>
            <a:ln w="9525">
              <a:solidFill>
                <a:srgbClr val="FFFFF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860F12DB-F906-46E7-BB6C-A0C096CDEF4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43714" y="6041913"/>
              <a:ext cx="478233" cy="0"/>
            </a:xfrm>
            <a:prstGeom prst="line">
              <a:avLst/>
            </a:prstGeom>
            <a:ln w="19050">
              <a:solidFill>
                <a:srgbClr val="FFFFF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11446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302CDFFB-3296-45F1-837F-BC567AD0FD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53787"/>
          <a:stretch/>
        </p:blipFill>
        <p:spPr>
          <a:xfrm>
            <a:off x="11030375" y="2866175"/>
            <a:ext cx="1161626" cy="2313432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F6F2220D-D049-431F-AE4C-66F06B49D14E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DD92F5C-AA83-4505-B194-3EB6A01DC91C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 dirty="0">
                <a:solidFill>
                  <a:schemeClr val="bg1"/>
                </a:solidFill>
              </a:endParaRPr>
            </a:p>
          </p:txBody>
        </p:sp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AD96E9CE-0E6C-4361-B959-D892AE199199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9522EDF-6B64-40DC-AF8F-1193DB30E268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46C2A21-3B85-4654-B356-193FF4A73DE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dirty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504655-6790-490E-BA0D-242ED3E5FA88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dirty="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E483918-9EBB-4FAD-A165-6274601D3246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7A04C62-89DA-486D-AA08-D9D25B318A53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4"/>
                </a:buBlip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3905" y="1648460"/>
            <a:ext cx="7096125" cy="4572000"/>
          </a:xfrm>
          <a:solidFill>
            <a:schemeClr val="bg1">
              <a:lumMod val="95000"/>
            </a:schemeClr>
          </a:solidFill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645920"/>
          <a:lstStyle>
            <a:lvl1pPr marL="0" indent="0" algn="ctr">
              <a:buFontTx/>
              <a:buNone/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FBEEA6F-668D-442E-A0D4-9939E1D82CB5}"/>
              </a:ext>
            </a:extLst>
          </p:cNvPr>
          <p:cNvSpPr/>
          <p:nvPr userDrawn="1"/>
        </p:nvSpPr>
        <p:spPr>
          <a:xfrm>
            <a:off x="4573905" y="1465962"/>
            <a:ext cx="5252910" cy="24257"/>
          </a:xfrm>
          <a:custGeom>
            <a:avLst/>
            <a:gdLst>
              <a:gd name="connsiteX0" fmla="*/ 5252910 w 5252910"/>
              <a:gd name="connsiteY0" fmla="*/ 24257 h 24257"/>
              <a:gd name="connsiteX1" fmla="*/ 4848860 w 5252910"/>
              <a:gd name="connsiteY1" fmla="*/ 24257 h 24257"/>
              <a:gd name="connsiteX2" fmla="*/ 4848860 w 5252910"/>
              <a:gd name="connsiteY2" fmla="*/ 0 h 24257"/>
              <a:gd name="connsiteX3" fmla="*/ 5252910 w 5252910"/>
              <a:gd name="connsiteY3" fmla="*/ 0 h 24257"/>
              <a:gd name="connsiteX4" fmla="*/ 5252910 w 5252910"/>
              <a:gd name="connsiteY4" fmla="*/ 24257 h 24257"/>
              <a:gd name="connsiteX5" fmla="*/ 4444746 w 5252910"/>
              <a:gd name="connsiteY5" fmla="*/ 24257 h 24257"/>
              <a:gd name="connsiteX6" fmla="*/ 4040696 w 5252910"/>
              <a:gd name="connsiteY6" fmla="*/ 24257 h 24257"/>
              <a:gd name="connsiteX7" fmla="*/ 4040696 w 5252910"/>
              <a:gd name="connsiteY7" fmla="*/ 0 h 24257"/>
              <a:gd name="connsiteX8" fmla="*/ 4444746 w 5252910"/>
              <a:gd name="connsiteY8" fmla="*/ 0 h 24257"/>
              <a:gd name="connsiteX9" fmla="*/ 4444746 w 5252910"/>
              <a:gd name="connsiteY9" fmla="*/ 24257 h 24257"/>
              <a:gd name="connsiteX10" fmla="*/ 3636645 w 5252910"/>
              <a:gd name="connsiteY10" fmla="*/ 24257 h 24257"/>
              <a:gd name="connsiteX11" fmla="*/ 3232594 w 5252910"/>
              <a:gd name="connsiteY11" fmla="*/ 24257 h 24257"/>
              <a:gd name="connsiteX12" fmla="*/ 3232594 w 5252910"/>
              <a:gd name="connsiteY12" fmla="*/ 0 h 24257"/>
              <a:gd name="connsiteX13" fmla="*/ 3636645 w 5252910"/>
              <a:gd name="connsiteY13" fmla="*/ 0 h 24257"/>
              <a:gd name="connsiteX14" fmla="*/ 3636645 w 5252910"/>
              <a:gd name="connsiteY14" fmla="*/ 24257 h 24257"/>
              <a:gd name="connsiteX15" fmla="*/ 2828481 w 5252910"/>
              <a:gd name="connsiteY15" fmla="*/ 24257 h 24257"/>
              <a:gd name="connsiteX16" fmla="*/ 2424430 w 5252910"/>
              <a:gd name="connsiteY16" fmla="*/ 24257 h 24257"/>
              <a:gd name="connsiteX17" fmla="*/ 2424430 w 5252910"/>
              <a:gd name="connsiteY17" fmla="*/ 0 h 24257"/>
              <a:gd name="connsiteX18" fmla="*/ 2828481 w 5252910"/>
              <a:gd name="connsiteY18" fmla="*/ 0 h 24257"/>
              <a:gd name="connsiteX19" fmla="*/ 2828481 w 5252910"/>
              <a:gd name="connsiteY19" fmla="*/ 24257 h 24257"/>
              <a:gd name="connsiteX20" fmla="*/ 2020316 w 5252910"/>
              <a:gd name="connsiteY20" fmla="*/ 24257 h 24257"/>
              <a:gd name="connsiteX21" fmla="*/ 1616266 w 5252910"/>
              <a:gd name="connsiteY21" fmla="*/ 24257 h 24257"/>
              <a:gd name="connsiteX22" fmla="*/ 1616266 w 5252910"/>
              <a:gd name="connsiteY22" fmla="*/ 0 h 24257"/>
              <a:gd name="connsiteX23" fmla="*/ 2020316 w 5252910"/>
              <a:gd name="connsiteY23" fmla="*/ 0 h 24257"/>
              <a:gd name="connsiteX24" fmla="*/ 2020316 w 5252910"/>
              <a:gd name="connsiteY24" fmla="*/ 24257 h 24257"/>
              <a:gd name="connsiteX25" fmla="*/ 1212215 w 5252910"/>
              <a:gd name="connsiteY25" fmla="*/ 24257 h 24257"/>
              <a:gd name="connsiteX26" fmla="*/ 808164 w 5252910"/>
              <a:gd name="connsiteY26" fmla="*/ 24257 h 24257"/>
              <a:gd name="connsiteX27" fmla="*/ 808164 w 5252910"/>
              <a:gd name="connsiteY27" fmla="*/ 0 h 24257"/>
              <a:gd name="connsiteX28" fmla="*/ 1212215 w 5252910"/>
              <a:gd name="connsiteY28" fmla="*/ 0 h 24257"/>
              <a:gd name="connsiteX29" fmla="*/ 1212215 w 5252910"/>
              <a:gd name="connsiteY29" fmla="*/ 24257 h 24257"/>
              <a:gd name="connsiteX30" fmla="*/ 404051 w 5252910"/>
              <a:gd name="connsiteY30" fmla="*/ 24257 h 24257"/>
              <a:gd name="connsiteX31" fmla="*/ 0 w 5252910"/>
              <a:gd name="connsiteY31" fmla="*/ 24257 h 24257"/>
              <a:gd name="connsiteX32" fmla="*/ 0 w 5252910"/>
              <a:gd name="connsiteY32" fmla="*/ 0 h 24257"/>
              <a:gd name="connsiteX33" fmla="*/ 404051 w 5252910"/>
              <a:gd name="connsiteY33" fmla="*/ 0 h 24257"/>
              <a:gd name="connsiteX34" fmla="*/ 404051 w 5252910"/>
              <a:gd name="connsiteY34" fmla="*/ 24257 h 2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52910" h="24257">
                <a:moveTo>
                  <a:pt x="5252910" y="24257"/>
                </a:moveTo>
                <a:lnTo>
                  <a:pt x="4848860" y="24257"/>
                </a:lnTo>
                <a:lnTo>
                  <a:pt x="4848860" y="0"/>
                </a:lnTo>
                <a:lnTo>
                  <a:pt x="5252910" y="0"/>
                </a:lnTo>
                <a:lnTo>
                  <a:pt x="5252910" y="24257"/>
                </a:lnTo>
                <a:close/>
                <a:moveTo>
                  <a:pt x="4444746" y="24257"/>
                </a:moveTo>
                <a:lnTo>
                  <a:pt x="4040696" y="24257"/>
                </a:lnTo>
                <a:lnTo>
                  <a:pt x="4040696" y="0"/>
                </a:lnTo>
                <a:lnTo>
                  <a:pt x="4444746" y="0"/>
                </a:lnTo>
                <a:lnTo>
                  <a:pt x="4444746" y="24257"/>
                </a:lnTo>
                <a:close/>
                <a:moveTo>
                  <a:pt x="3636645" y="24257"/>
                </a:moveTo>
                <a:lnTo>
                  <a:pt x="3232594" y="24257"/>
                </a:lnTo>
                <a:lnTo>
                  <a:pt x="3232594" y="0"/>
                </a:lnTo>
                <a:lnTo>
                  <a:pt x="3636645" y="0"/>
                </a:lnTo>
                <a:lnTo>
                  <a:pt x="3636645" y="24257"/>
                </a:lnTo>
                <a:close/>
                <a:moveTo>
                  <a:pt x="2828481" y="24257"/>
                </a:moveTo>
                <a:lnTo>
                  <a:pt x="2424430" y="24257"/>
                </a:lnTo>
                <a:lnTo>
                  <a:pt x="2424430" y="0"/>
                </a:lnTo>
                <a:lnTo>
                  <a:pt x="2828481" y="0"/>
                </a:lnTo>
                <a:lnTo>
                  <a:pt x="2828481" y="24257"/>
                </a:lnTo>
                <a:close/>
                <a:moveTo>
                  <a:pt x="2020316" y="24257"/>
                </a:moveTo>
                <a:lnTo>
                  <a:pt x="1616266" y="24257"/>
                </a:lnTo>
                <a:lnTo>
                  <a:pt x="1616266" y="0"/>
                </a:lnTo>
                <a:lnTo>
                  <a:pt x="2020316" y="0"/>
                </a:lnTo>
                <a:lnTo>
                  <a:pt x="2020316" y="24257"/>
                </a:lnTo>
                <a:close/>
                <a:moveTo>
                  <a:pt x="1212215" y="24257"/>
                </a:moveTo>
                <a:lnTo>
                  <a:pt x="808164" y="24257"/>
                </a:lnTo>
                <a:lnTo>
                  <a:pt x="808164" y="0"/>
                </a:lnTo>
                <a:lnTo>
                  <a:pt x="1212215" y="0"/>
                </a:lnTo>
                <a:lnTo>
                  <a:pt x="1212215" y="24257"/>
                </a:lnTo>
                <a:close/>
                <a:moveTo>
                  <a:pt x="404051" y="24257"/>
                </a:moveTo>
                <a:lnTo>
                  <a:pt x="0" y="24257"/>
                </a:lnTo>
                <a:lnTo>
                  <a:pt x="0" y="0"/>
                </a:lnTo>
                <a:lnTo>
                  <a:pt x="404051" y="0"/>
                </a:lnTo>
                <a:lnTo>
                  <a:pt x="404051" y="24257"/>
                </a:lnTo>
                <a:close/>
              </a:path>
            </a:pathLst>
          </a:custGeom>
          <a:solidFill>
            <a:srgbClr val="6FBE4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grpSp>
        <p:nvGrpSpPr>
          <p:cNvPr id="17" name="Graphic 42">
            <a:extLst>
              <a:ext uri="{FF2B5EF4-FFF2-40B4-BE49-F238E27FC236}">
                <a16:creationId xmlns:a16="http://schemas.microsoft.com/office/drawing/2014/main" id="{4462BEFA-F6BE-408A-8CBD-DDC5B03EF6CF}"/>
              </a:ext>
            </a:extLst>
          </p:cNvPr>
          <p:cNvGrpSpPr/>
          <p:nvPr userDrawn="1"/>
        </p:nvGrpSpPr>
        <p:grpSpPr>
          <a:xfrm>
            <a:off x="5040122" y="1453579"/>
            <a:ext cx="4312158" cy="55752"/>
            <a:chOff x="1962277" y="6465887"/>
            <a:chExt cx="4312158" cy="55752"/>
          </a:xfrm>
          <a:solidFill>
            <a:srgbClr val="B3B3B3"/>
          </a:solidFill>
        </p:grpSpPr>
        <p:grpSp>
          <p:nvGrpSpPr>
            <p:cNvPr id="18" name="Graphic 42">
              <a:extLst>
                <a:ext uri="{FF2B5EF4-FFF2-40B4-BE49-F238E27FC236}">
                  <a16:creationId xmlns:a16="http://schemas.microsoft.com/office/drawing/2014/main" id="{6C414D36-83CA-494E-90F0-B5BB4912F8F4}"/>
                </a:ext>
              </a:extLst>
            </p:cNvPr>
            <p:cNvGrpSpPr/>
            <p:nvPr/>
          </p:nvGrpSpPr>
          <p:grpSpPr>
            <a:xfrm>
              <a:off x="1962277" y="6465887"/>
              <a:ext cx="275081" cy="55752"/>
              <a:chOff x="1962277" y="6465887"/>
              <a:chExt cx="275081" cy="55752"/>
            </a:xfrm>
            <a:solidFill>
              <a:srgbClr val="B3B3B3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12D98FB-8347-49AC-981B-0836C07DF466}"/>
                  </a:ext>
                </a:extLst>
              </p:cNvPr>
              <p:cNvSpPr/>
              <p:nvPr/>
            </p:nvSpPr>
            <p:spPr>
              <a:xfrm>
                <a:off x="222929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5515A06-384F-4412-B81B-CC4CC0CA36F9}"/>
                  </a:ext>
                </a:extLst>
              </p:cNvPr>
              <p:cNvSpPr/>
              <p:nvPr/>
            </p:nvSpPr>
            <p:spPr>
              <a:xfrm>
                <a:off x="21330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D3D9B1C-CA80-4F23-B321-AF615A9E00C6}"/>
                  </a:ext>
                </a:extLst>
              </p:cNvPr>
              <p:cNvSpPr/>
              <p:nvPr/>
            </p:nvSpPr>
            <p:spPr>
              <a:xfrm>
                <a:off x="204952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61D8D8A-1848-4FF2-A8B9-EAA9E4FA6C9A}"/>
                  </a:ext>
                </a:extLst>
              </p:cNvPr>
              <p:cNvSpPr/>
              <p:nvPr/>
            </p:nvSpPr>
            <p:spPr>
              <a:xfrm>
                <a:off x="196227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aphic 42">
              <a:extLst>
                <a:ext uri="{FF2B5EF4-FFF2-40B4-BE49-F238E27FC236}">
                  <a16:creationId xmlns:a16="http://schemas.microsoft.com/office/drawing/2014/main" id="{C8188640-B60E-4D12-8195-2CC09242B9F0}"/>
                </a:ext>
              </a:extLst>
            </p:cNvPr>
            <p:cNvGrpSpPr/>
            <p:nvPr/>
          </p:nvGrpSpPr>
          <p:grpSpPr>
            <a:xfrm>
              <a:off x="2767584" y="6465887"/>
              <a:ext cx="275081" cy="55752"/>
              <a:chOff x="2767584" y="6465887"/>
              <a:chExt cx="275081" cy="55752"/>
            </a:xfrm>
            <a:solidFill>
              <a:srgbClr val="B3B3B3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AED701D-F446-4BF2-B9AB-AD1DE14D2221}"/>
                  </a:ext>
                </a:extLst>
              </p:cNvPr>
              <p:cNvSpPr/>
              <p:nvPr/>
            </p:nvSpPr>
            <p:spPr>
              <a:xfrm>
                <a:off x="303460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786866A-0184-4A50-A38D-04AD7C97E460}"/>
                  </a:ext>
                </a:extLst>
              </p:cNvPr>
              <p:cNvSpPr/>
              <p:nvPr/>
            </p:nvSpPr>
            <p:spPr>
              <a:xfrm>
                <a:off x="293839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2873B01-F29B-447F-8CA9-90773F021047}"/>
                  </a:ext>
                </a:extLst>
              </p:cNvPr>
              <p:cNvSpPr/>
              <p:nvPr/>
            </p:nvSpPr>
            <p:spPr>
              <a:xfrm>
                <a:off x="285483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39C3C78D-917D-49A6-9DA1-0AAD733B0081}"/>
                  </a:ext>
                </a:extLst>
              </p:cNvPr>
              <p:cNvSpPr/>
              <p:nvPr/>
            </p:nvSpPr>
            <p:spPr>
              <a:xfrm>
                <a:off x="276758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0B318879-5799-428C-8F50-C87E1AAE34F9}"/>
                </a:ext>
              </a:extLst>
            </p:cNvPr>
            <p:cNvGrpSpPr/>
            <p:nvPr/>
          </p:nvGrpSpPr>
          <p:grpSpPr>
            <a:xfrm>
              <a:off x="3592067" y="6465887"/>
              <a:ext cx="275082" cy="55752"/>
              <a:chOff x="3592067" y="6465887"/>
              <a:chExt cx="275082" cy="55752"/>
            </a:xfrm>
            <a:solidFill>
              <a:srgbClr val="B3B3B3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2315CF7-1D26-45D3-8980-950C19FCA779}"/>
                  </a:ext>
                </a:extLst>
              </p:cNvPr>
              <p:cNvSpPr/>
              <p:nvPr/>
            </p:nvSpPr>
            <p:spPr>
              <a:xfrm>
                <a:off x="385908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582EA7-D6B9-4B06-81FC-45EFF0D7FA1D}"/>
                  </a:ext>
                </a:extLst>
              </p:cNvPr>
              <p:cNvSpPr/>
              <p:nvPr/>
            </p:nvSpPr>
            <p:spPr>
              <a:xfrm>
                <a:off x="376288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B32FF40-DA0D-43AF-9E1F-7F90B039619E}"/>
                  </a:ext>
                </a:extLst>
              </p:cNvPr>
              <p:cNvSpPr/>
              <p:nvPr/>
            </p:nvSpPr>
            <p:spPr>
              <a:xfrm>
                <a:off x="367931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5F385E7-62A0-4424-AA68-EC3AC5D492B0}"/>
                  </a:ext>
                </a:extLst>
              </p:cNvPr>
              <p:cNvSpPr/>
              <p:nvPr/>
            </p:nvSpPr>
            <p:spPr>
              <a:xfrm>
                <a:off x="359206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aphic 42">
              <a:extLst>
                <a:ext uri="{FF2B5EF4-FFF2-40B4-BE49-F238E27FC236}">
                  <a16:creationId xmlns:a16="http://schemas.microsoft.com/office/drawing/2014/main" id="{3423C752-5534-4E66-A865-C988809C1E01}"/>
                </a:ext>
              </a:extLst>
            </p:cNvPr>
            <p:cNvGrpSpPr/>
            <p:nvPr/>
          </p:nvGrpSpPr>
          <p:grpSpPr>
            <a:xfrm>
              <a:off x="4397375" y="6465887"/>
              <a:ext cx="275081" cy="55752"/>
              <a:chOff x="4397375" y="6465887"/>
              <a:chExt cx="275081" cy="55752"/>
            </a:xfrm>
            <a:solidFill>
              <a:srgbClr val="B3B3B3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6ADF341-7B9D-4DD8-9CA6-565A61A1D9F0}"/>
                  </a:ext>
                </a:extLst>
              </p:cNvPr>
              <p:cNvSpPr/>
              <p:nvPr/>
            </p:nvSpPr>
            <p:spPr>
              <a:xfrm>
                <a:off x="46643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583D26D-856C-4A77-AE0D-3BA42CE1E584}"/>
                  </a:ext>
                </a:extLst>
              </p:cNvPr>
              <p:cNvSpPr/>
              <p:nvPr/>
            </p:nvSpPr>
            <p:spPr>
              <a:xfrm>
                <a:off x="456819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AEFB025-6C70-433A-A300-828C72698CA9}"/>
                  </a:ext>
                </a:extLst>
              </p:cNvPr>
              <p:cNvSpPr/>
              <p:nvPr/>
            </p:nvSpPr>
            <p:spPr>
              <a:xfrm>
                <a:off x="448462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1D62E97-9E08-4764-8431-00935A47F3A0}"/>
                  </a:ext>
                </a:extLst>
              </p:cNvPr>
              <p:cNvSpPr/>
              <p:nvPr/>
            </p:nvSpPr>
            <p:spPr>
              <a:xfrm>
                <a:off x="439737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42">
              <a:extLst>
                <a:ext uri="{FF2B5EF4-FFF2-40B4-BE49-F238E27FC236}">
                  <a16:creationId xmlns:a16="http://schemas.microsoft.com/office/drawing/2014/main" id="{B5A71B70-4F7E-4F2D-B1E9-AA29844C693D}"/>
                </a:ext>
              </a:extLst>
            </p:cNvPr>
            <p:cNvGrpSpPr/>
            <p:nvPr/>
          </p:nvGrpSpPr>
          <p:grpSpPr>
            <a:xfrm>
              <a:off x="5193982" y="6465887"/>
              <a:ext cx="275081" cy="55752"/>
              <a:chOff x="5193982" y="6465887"/>
              <a:chExt cx="275081" cy="55752"/>
            </a:xfrm>
            <a:solidFill>
              <a:srgbClr val="B3B3B3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C4D2D9B-3546-4854-9EF0-91DA8B5D343A}"/>
                  </a:ext>
                </a:extLst>
              </p:cNvPr>
              <p:cNvSpPr/>
              <p:nvPr/>
            </p:nvSpPr>
            <p:spPr>
              <a:xfrm>
                <a:off x="546100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ACC2168-473F-4DD8-9CCA-AC07604162E4}"/>
                  </a:ext>
                </a:extLst>
              </p:cNvPr>
              <p:cNvSpPr/>
              <p:nvPr/>
            </p:nvSpPr>
            <p:spPr>
              <a:xfrm>
                <a:off x="536486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0676C98-9672-4F1C-B76D-533DC9DC61E9}"/>
                  </a:ext>
                </a:extLst>
              </p:cNvPr>
              <p:cNvSpPr/>
              <p:nvPr/>
            </p:nvSpPr>
            <p:spPr>
              <a:xfrm>
                <a:off x="528123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67CC653-46C7-4F44-8FF4-0AABDEBC12E7}"/>
                  </a:ext>
                </a:extLst>
              </p:cNvPr>
              <p:cNvSpPr/>
              <p:nvPr/>
            </p:nvSpPr>
            <p:spPr>
              <a:xfrm>
                <a:off x="519398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aphic 42">
              <a:extLst>
                <a:ext uri="{FF2B5EF4-FFF2-40B4-BE49-F238E27FC236}">
                  <a16:creationId xmlns:a16="http://schemas.microsoft.com/office/drawing/2014/main" id="{2A1F82DF-03D9-444E-8317-8BEACA4F8E1E}"/>
                </a:ext>
              </a:extLst>
            </p:cNvPr>
            <p:cNvGrpSpPr/>
            <p:nvPr/>
          </p:nvGrpSpPr>
          <p:grpSpPr>
            <a:xfrm>
              <a:off x="5999289" y="6465887"/>
              <a:ext cx="275145" cy="55752"/>
              <a:chOff x="5999289" y="6465887"/>
              <a:chExt cx="275145" cy="55752"/>
            </a:xfrm>
            <a:solidFill>
              <a:srgbClr val="B3B3B3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91F24D6-8119-44C1-93F2-E5109D171FA2}"/>
                  </a:ext>
                </a:extLst>
              </p:cNvPr>
              <p:cNvSpPr/>
              <p:nvPr/>
            </p:nvSpPr>
            <p:spPr>
              <a:xfrm>
                <a:off x="626637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81EC1E3-3540-4BE0-AD5A-51BA24740C03}"/>
                  </a:ext>
                </a:extLst>
              </p:cNvPr>
              <p:cNvSpPr/>
              <p:nvPr/>
            </p:nvSpPr>
            <p:spPr>
              <a:xfrm>
                <a:off x="617016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8EFC42F-F751-4EA6-8C7C-816A8DE27840}"/>
                  </a:ext>
                </a:extLst>
              </p:cNvPr>
              <p:cNvSpPr/>
              <p:nvPr/>
            </p:nvSpPr>
            <p:spPr>
              <a:xfrm>
                <a:off x="608653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7C191A6-C627-4504-AFFA-3E1CD488F910}"/>
                  </a:ext>
                </a:extLst>
              </p:cNvPr>
              <p:cNvSpPr/>
              <p:nvPr/>
            </p:nvSpPr>
            <p:spPr>
              <a:xfrm>
                <a:off x="599928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5075E11-C95B-43F7-AE58-F819F4432F94}"/>
              </a:ext>
            </a:extLst>
          </p:cNvPr>
          <p:cNvSpPr/>
          <p:nvPr userDrawn="1"/>
        </p:nvSpPr>
        <p:spPr>
          <a:xfrm>
            <a:off x="4558698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7942 w 99631"/>
              <a:gd name="connsiteY1" fmla="*/ 0 h 161861"/>
              <a:gd name="connsiteX2" fmla="*/ 99631 w 99631"/>
              <a:gd name="connsiteY2" fmla="*/ 80962 h 161861"/>
              <a:gd name="connsiteX3" fmla="*/ 47942 w 99631"/>
              <a:gd name="connsiteY3" fmla="*/ 161862 h 161861"/>
              <a:gd name="connsiteX4" fmla="*/ 0 w 99631"/>
              <a:gd name="connsiteY4" fmla="*/ 161862 h 161861"/>
              <a:gd name="connsiteX5" fmla="*/ 51626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7942" y="0"/>
                </a:lnTo>
                <a:lnTo>
                  <a:pt x="99631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E7C06D70-7E3E-4D15-B6B1-EAF35FBF771C}"/>
              </a:ext>
            </a:extLst>
          </p:cNvPr>
          <p:cNvSpPr/>
          <p:nvPr userDrawn="1"/>
        </p:nvSpPr>
        <p:spPr>
          <a:xfrm>
            <a:off x="4628548" y="6297424"/>
            <a:ext cx="99567" cy="161861"/>
          </a:xfrm>
          <a:custGeom>
            <a:avLst/>
            <a:gdLst>
              <a:gd name="connsiteX0" fmla="*/ 0 w 99567"/>
              <a:gd name="connsiteY0" fmla="*/ 0 h 161861"/>
              <a:gd name="connsiteX1" fmla="*/ 47942 w 99567"/>
              <a:gd name="connsiteY1" fmla="*/ 0 h 161861"/>
              <a:gd name="connsiteX2" fmla="*/ 99568 w 99567"/>
              <a:gd name="connsiteY2" fmla="*/ 80962 h 161861"/>
              <a:gd name="connsiteX3" fmla="*/ 47942 w 99567"/>
              <a:gd name="connsiteY3" fmla="*/ 161862 h 161861"/>
              <a:gd name="connsiteX4" fmla="*/ 0 w 99567"/>
              <a:gd name="connsiteY4" fmla="*/ 161862 h 161861"/>
              <a:gd name="connsiteX5" fmla="*/ 51626 w 99567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7" h="161861">
                <a:moveTo>
                  <a:pt x="0" y="0"/>
                </a:moveTo>
                <a:lnTo>
                  <a:pt x="47942" y="0"/>
                </a:lnTo>
                <a:lnTo>
                  <a:pt x="99568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2560CFA8-8666-401D-B91D-47D7B7FABCCC}"/>
              </a:ext>
            </a:extLst>
          </p:cNvPr>
          <p:cNvSpPr/>
          <p:nvPr userDrawn="1"/>
        </p:nvSpPr>
        <p:spPr>
          <a:xfrm>
            <a:off x="4697001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8006 w 99631"/>
              <a:gd name="connsiteY1" fmla="*/ 0 h 161861"/>
              <a:gd name="connsiteX2" fmla="*/ 99631 w 99631"/>
              <a:gd name="connsiteY2" fmla="*/ 80962 h 161861"/>
              <a:gd name="connsiteX3" fmla="*/ 48006 w 99631"/>
              <a:gd name="connsiteY3" fmla="*/ 161862 h 161861"/>
              <a:gd name="connsiteX4" fmla="*/ 0 w 99631"/>
              <a:gd name="connsiteY4" fmla="*/ 161862 h 161861"/>
              <a:gd name="connsiteX5" fmla="*/ 51625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8006" y="0"/>
                </a:lnTo>
                <a:lnTo>
                  <a:pt x="99631" y="80962"/>
                </a:lnTo>
                <a:lnTo>
                  <a:pt x="48006" y="161862"/>
                </a:lnTo>
                <a:lnTo>
                  <a:pt x="0" y="161862"/>
                </a:lnTo>
                <a:lnTo>
                  <a:pt x="51625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71462" y="3134272"/>
            <a:ext cx="3026664" cy="151528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 lang="en-US" dirty="0">
                <a:solidFill>
                  <a:schemeClr val="bg1"/>
                </a:solidFill>
              </a:defRPr>
            </a:lvl2pPr>
            <a:lvl3pPr>
              <a:defRPr lang="en-US" dirty="0">
                <a:solidFill>
                  <a:schemeClr val="bg1"/>
                </a:solidFill>
              </a:defRPr>
            </a:lvl3pPr>
            <a:lvl4pPr>
              <a:defRPr lang="en-US" dirty="0"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marL="896112" lvl="2" indent="-228600"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</a:pPr>
            <a:r>
              <a:rPr lang="en-US" dirty="0"/>
              <a:t>Bullet 3</a:t>
            </a:r>
          </a:p>
          <a:p>
            <a:pPr marL="1143000" lvl="3">
              <a:buBlip>
                <a:blip r:embed="rId7"/>
              </a:buBlip>
            </a:pPr>
            <a:r>
              <a:rPr lang="en-US" dirty="0"/>
              <a:t>Bullet 4</a:t>
            </a: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E4983F59-20D1-456F-9822-48C6226503C4}"/>
              </a:ext>
            </a:extLst>
          </p:cNvPr>
          <p:cNvGrpSpPr/>
          <p:nvPr userDrawn="1"/>
        </p:nvGrpSpPr>
        <p:grpSpPr>
          <a:xfrm>
            <a:off x="3505373" y="2988934"/>
            <a:ext cx="478233" cy="3067294"/>
            <a:chOff x="3543714" y="2978301"/>
            <a:chExt cx="478233" cy="3067294"/>
          </a:xfrm>
        </p:grpSpPr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F139F8BB-DB21-4143-AE80-E3F57EF11700}"/>
                </a:ext>
              </a:extLst>
            </p:cNvPr>
            <p:cNvCxnSpPr/>
            <p:nvPr userDrawn="1"/>
          </p:nvCxnSpPr>
          <p:spPr>
            <a:xfrm>
              <a:off x="4018231" y="2978301"/>
              <a:ext cx="0" cy="3063244"/>
            </a:xfrm>
            <a:prstGeom prst="line">
              <a:avLst/>
            </a:prstGeom>
            <a:ln w="3175">
              <a:solidFill>
                <a:srgbClr val="80888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C51FBC5C-EFA9-4EAE-884D-1053E7D82AB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018231" y="5043883"/>
              <a:ext cx="0" cy="1001712"/>
            </a:xfrm>
            <a:prstGeom prst="line">
              <a:avLst/>
            </a:prstGeom>
            <a:ln w="9525">
              <a:solidFill>
                <a:srgbClr val="FFFFF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47B92371-B3C4-482B-8F9D-BABDE627193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43714" y="6041913"/>
              <a:ext cx="478233" cy="0"/>
            </a:xfrm>
            <a:prstGeom prst="line">
              <a:avLst/>
            </a:prstGeom>
            <a:ln w="19050">
              <a:solidFill>
                <a:srgbClr val="FFFFF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31320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40080" anchor="ctr">
            <a:noAutofit/>
          </a:bodyPr>
          <a:lstStyle>
            <a:lvl1pPr marL="0" indent="0" algn="ctr">
              <a:buNone/>
              <a:defRPr sz="1600" b="0">
                <a:solidFill>
                  <a:schemeClr val="accent5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61473D3-D9B8-4ABB-B46F-2584ADD4252E}"/>
              </a:ext>
            </a:extLst>
          </p:cNvPr>
          <p:cNvSpPr/>
          <p:nvPr userDrawn="1"/>
        </p:nvSpPr>
        <p:spPr>
          <a:xfrm>
            <a:off x="3048" y="4992785"/>
            <a:ext cx="12201129" cy="1778523"/>
          </a:xfrm>
          <a:custGeom>
            <a:avLst/>
            <a:gdLst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0 h 1742130"/>
              <a:gd name="connsiteX6" fmla="*/ 12225528 w 12225528"/>
              <a:gd name="connsiteY6" fmla="*/ 1508582 h 1742130"/>
              <a:gd name="connsiteX7" fmla="*/ 9244676 w 12225528"/>
              <a:gd name="connsiteY7" fmla="*/ 1508582 h 1742130"/>
              <a:gd name="connsiteX8" fmla="*/ 8712452 w 12225528"/>
              <a:gd name="connsiteY8" fmla="*/ 1740686 h 1742130"/>
              <a:gd name="connsiteX9" fmla="*/ 8715763 w 12225528"/>
              <a:gd name="connsiteY9" fmla="*/ 1742130 h 1742130"/>
              <a:gd name="connsiteX10" fmla="*/ 0 w 12225528"/>
              <a:gd name="connsiteY10" fmla="*/ 174213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1508582 h 1742130"/>
              <a:gd name="connsiteX6" fmla="*/ 9244676 w 12225528"/>
              <a:gd name="connsiteY6" fmla="*/ 1508582 h 1742130"/>
              <a:gd name="connsiteX7" fmla="*/ 8712452 w 12225528"/>
              <a:gd name="connsiteY7" fmla="*/ 1740686 h 1742130"/>
              <a:gd name="connsiteX8" fmla="*/ 8715763 w 12225528"/>
              <a:gd name="connsiteY8" fmla="*/ 1742130 h 1742130"/>
              <a:gd name="connsiteX9" fmla="*/ 0 w 12225528"/>
              <a:gd name="connsiteY9" fmla="*/ 1742130 h 1742130"/>
              <a:gd name="connsiteX10" fmla="*/ 0 w 12225528"/>
              <a:gd name="connsiteY10" fmla="*/ 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225528 w 12225528"/>
              <a:gd name="connsiteY4" fmla="*/ 1508582 h 1742130"/>
              <a:gd name="connsiteX5" fmla="*/ 9244676 w 12225528"/>
              <a:gd name="connsiteY5" fmla="*/ 1508582 h 1742130"/>
              <a:gd name="connsiteX6" fmla="*/ 8712452 w 12225528"/>
              <a:gd name="connsiteY6" fmla="*/ 1740686 h 1742130"/>
              <a:gd name="connsiteX7" fmla="*/ 8715763 w 12225528"/>
              <a:gd name="connsiteY7" fmla="*/ 1742130 h 1742130"/>
              <a:gd name="connsiteX8" fmla="*/ 0 w 12225528"/>
              <a:gd name="connsiteY8" fmla="*/ 1742130 h 1742130"/>
              <a:gd name="connsiteX9" fmla="*/ 0 w 12225528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25528 w 12237742"/>
              <a:gd name="connsiteY4" fmla="*/ 1508582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8998407 w 12237742"/>
              <a:gd name="connsiteY5" fmla="*/ 1625525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130033 w 12237742"/>
              <a:gd name="connsiteY5" fmla="*/ 1621349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712452 w 12237742"/>
              <a:gd name="connsiteY6" fmla="*/ 1740686 h 1754660"/>
              <a:gd name="connsiteX7" fmla="*/ 8864374 w 12237742"/>
              <a:gd name="connsiteY7" fmla="*/ 1754660 h 1754660"/>
              <a:gd name="connsiteX8" fmla="*/ 0 w 12237742"/>
              <a:gd name="connsiteY8" fmla="*/ 1742130 h 1754660"/>
              <a:gd name="connsiteX9" fmla="*/ 0 w 12237742"/>
              <a:gd name="connsiteY9" fmla="*/ 0 h 175466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864374 w 12237742"/>
              <a:gd name="connsiteY6" fmla="*/ 1754660 h 1754660"/>
              <a:gd name="connsiteX7" fmla="*/ 0 w 12237742"/>
              <a:gd name="connsiteY7" fmla="*/ 1742130 h 1754660"/>
              <a:gd name="connsiteX8" fmla="*/ 0 w 12237742"/>
              <a:gd name="connsiteY8" fmla="*/ 0 h 175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37742" h="1754660">
                <a:moveTo>
                  <a:pt x="0" y="0"/>
                </a:moveTo>
                <a:lnTo>
                  <a:pt x="2261766" y="0"/>
                </a:lnTo>
                <a:lnTo>
                  <a:pt x="2669225" y="201008"/>
                </a:lnTo>
                <a:lnTo>
                  <a:pt x="12237742" y="201008"/>
                </a:lnTo>
                <a:cubicBezTo>
                  <a:pt x="12236501" y="675847"/>
                  <a:pt x="12235261" y="1150686"/>
                  <a:pt x="12234020" y="1625525"/>
                </a:cubicBezTo>
                <a:lnTo>
                  <a:pt x="9130033" y="1621349"/>
                </a:lnTo>
                <a:lnTo>
                  <a:pt x="8864374" y="1754660"/>
                </a:lnTo>
                <a:lnTo>
                  <a:pt x="0" y="174213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84082" y="5570491"/>
            <a:ext cx="11823616" cy="553998"/>
          </a:xfr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0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448D662-6523-4218-8C74-57E67EA487D2}"/>
              </a:ext>
            </a:extLst>
          </p:cNvPr>
          <p:cNvGrpSpPr/>
          <p:nvPr userDrawn="1"/>
        </p:nvGrpSpPr>
        <p:grpSpPr>
          <a:xfrm rot="5400000" flipH="1">
            <a:off x="963637" y="4418514"/>
            <a:ext cx="291600" cy="1828800"/>
            <a:chOff x="3543714" y="2978301"/>
            <a:chExt cx="478233" cy="3067294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F68EE3B7-86A3-46E4-8C18-4177BE6F23D3}"/>
                </a:ext>
              </a:extLst>
            </p:cNvPr>
            <p:cNvCxnSpPr/>
            <p:nvPr userDrawn="1"/>
          </p:nvCxnSpPr>
          <p:spPr>
            <a:xfrm>
              <a:off x="4018231" y="2978301"/>
              <a:ext cx="0" cy="3063244"/>
            </a:xfrm>
            <a:prstGeom prst="line">
              <a:avLst/>
            </a:prstGeom>
            <a:ln w="6350">
              <a:solidFill>
                <a:srgbClr val="80888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400A465-8170-4E06-8AC4-0B4E97C1BA4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018231" y="5043883"/>
              <a:ext cx="0" cy="1001712"/>
            </a:xfrm>
            <a:prstGeom prst="line">
              <a:avLst/>
            </a:prstGeom>
            <a:ln w="12700">
              <a:solidFill>
                <a:srgbClr val="FFFFF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A0F3370D-BB7A-49E6-B98E-026D631B990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43714" y="6041913"/>
              <a:ext cx="478233" cy="0"/>
            </a:xfrm>
            <a:prstGeom prst="line">
              <a:avLst/>
            </a:prstGeom>
            <a:ln w="19050">
              <a:solidFill>
                <a:srgbClr val="FFFFF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88816B2-845A-4989-A2B1-4079A2F3752B}"/>
              </a:ext>
            </a:extLst>
          </p:cNvPr>
          <p:cNvGrpSpPr/>
          <p:nvPr userDrawn="1"/>
        </p:nvGrpSpPr>
        <p:grpSpPr>
          <a:xfrm rot="16200000" flipH="1">
            <a:off x="10949912" y="5290616"/>
            <a:ext cx="291600" cy="1828800"/>
            <a:chOff x="3543714" y="2978301"/>
            <a:chExt cx="478233" cy="3067294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ED19B288-2A4F-437F-A0F7-2768B6B747B2}"/>
                </a:ext>
              </a:extLst>
            </p:cNvPr>
            <p:cNvCxnSpPr/>
            <p:nvPr userDrawn="1"/>
          </p:nvCxnSpPr>
          <p:spPr>
            <a:xfrm>
              <a:off x="4018231" y="2978301"/>
              <a:ext cx="0" cy="3063244"/>
            </a:xfrm>
            <a:prstGeom prst="line">
              <a:avLst/>
            </a:prstGeom>
            <a:ln w="6350">
              <a:solidFill>
                <a:srgbClr val="80888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A184DB4A-6A25-4E9B-91DA-0532F23B76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018231" y="5043883"/>
              <a:ext cx="0" cy="1001712"/>
            </a:xfrm>
            <a:prstGeom prst="line">
              <a:avLst/>
            </a:prstGeom>
            <a:ln w="12700">
              <a:solidFill>
                <a:srgbClr val="FFFFF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7A0D9433-EAE5-4A07-9C93-1D153DF9FCD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43714" y="6041913"/>
              <a:ext cx="478233" cy="0"/>
            </a:xfrm>
            <a:prstGeom prst="line">
              <a:avLst/>
            </a:prstGeom>
            <a:ln w="19050">
              <a:solidFill>
                <a:srgbClr val="FFFFF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8D69FC5-5274-4468-BEC3-8A28A037ED71}"/>
              </a:ext>
            </a:extLst>
          </p:cNvPr>
          <p:cNvGrpSpPr/>
          <p:nvPr userDrawn="1"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8D686C80-5946-4393-9847-B1BC3BD38A43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4">
              <a:extLst>
                <a:ext uri="{FF2B5EF4-FFF2-40B4-BE49-F238E27FC236}">
                  <a16:creationId xmlns:a16="http://schemas.microsoft.com/office/drawing/2014/main" id="{FAF5E269-FC2A-4D03-B235-792797AF466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46020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A5417A66-28C9-4F74-8725-ED614CCC78B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448424" y="2267712"/>
            <a:ext cx="5120640" cy="347472"/>
          </a:xfrm>
        </p:spPr>
        <p:txBody>
          <a:bodyPr/>
          <a:lstStyle>
            <a:lvl1pPr marL="0" indent="0" algn="ctr">
              <a:buNone/>
              <a:defRPr b="1"/>
            </a:lvl1pPr>
          </a:lstStyle>
          <a:p>
            <a:pPr lvl="0"/>
            <a:r>
              <a:rPr lang="en-US" dirty="0"/>
              <a:t>Add Title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C71067A-153F-402A-9705-FE668216495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68362" y="2267712"/>
            <a:ext cx="5120640" cy="347472"/>
          </a:xfrm>
        </p:spPr>
        <p:txBody>
          <a:bodyPr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48291" y="2733199"/>
            <a:ext cx="5120640" cy="281201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en-US" sz="1000" b="0" baseline="0">
                <a:solidFill>
                  <a:schemeClr val="accent5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20640" cy="2818946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chemeClr val="accent5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82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9928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46155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5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68395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5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8396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8394" y="2262961"/>
            <a:ext cx="329184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68299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5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8299" y="2262961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9928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810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5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31718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1996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6117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5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1171" y="5726509"/>
            <a:ext cx="233172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1171" y="2262962"/>
            <a:ext cx="233172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45385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5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53851" y="5726509"/>
            <a:ext cx="233171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851" y="2262962"/>
            <a:ext cx="2331719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246532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5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6531" y="5726508"/>
            <a:ext cx="2332191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6531" y="2262961"/>
            <a:ext cx="233219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9928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67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2BF1681-5E87-48F4-BB8F-930B0A275A4C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B736019-6C3D-4676-A1FB-36A31E7875B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C979FE08-D77A-455C-BA4C-B955D2EEA557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D5773A3F-F682-4CDF-A763-ADF830C949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951" y="98770"/>
            <a:ext cx="5833011" cy="6759230"/>
          </a:xfrm>
          <a:custGeom>
            <a:avLst/>
            <a:gdLst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0 w 12188953"/>
              <a:gd name="connsiteY3" fmla="*/ 6426200 h 6426200"/>
              <a:gd name="connsiteX4" fmla="*/ 0 w 12188953"/>
              <a:gd name="connsiteY4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0 w 12188953"/>
              <a:gd name="connsiteY4" fmla="*/ 6426200 h 6426200"/>
              <a:gd name="connsiteX5" fmla="*/ 0 w 12188953"/>
              <a:gd name="connsiteY5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8366253 w 12188953"/>
              <a:gd name="connsiteY4" fmla="*/ 6413500 h 6426200"/>
              <a:gd name="connsiteX5" fmla="*/ 0 w 12188953"/>
              <a:gd name="connsiteY5" fmla="*/ 6426200 h 6426200"/>
              <a:gd name="connsiteX6" fmla="*/ 0 w 12188953"/>
              <a:gd name="connsiteY6" fmla="*/ 0 h 6426200"/>
              <a:gd name="connsiteX0" fmla="*/ 0 w 12188953"/>
              <a:gd name="connsiteY0" fmla="*/ 0 h 6629400"/>
              <a:gd name="connsiteX1" fmla="*/ 12188953 w 12188953"/>
              <a:gd name="connsiteY1" fmla="*/ 0 h 6629400"/>
              <a:gd name="connsiteX2" fmla="*/ 12188953 w 12188953"/>
              <a:gd name="connsiteY2" fmla="*/ 6426200 h 6629400"/>
              <a:gd name="connsiteX3" fmla="*/ 9102853 w 12188953"/>
              <a:gd name="connsiteY3" fmla="*/ 6413500 h 6629400"/>
              <a:gd name="connsiteX4" fmla="*/ 8632953 w 12188953"/>
              <a:gd name="connsiteY4" fmla="*/ 6629400 h 6629400"/>
              <a:gd name="connsiteX5" fmla="*/ 0 w 12188953"/>
              <a:gd name="connsiteY5" fmla="*/ 6426200 h 6629400"/>
              <a:gd name="connsiteX6" fmla="*/ 0 w 121889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115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242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50800 w 12239753"/>
              <a:gd name="connsiteY0" fmla="*/ 0 h 6654655"/>
              <a:gd name="connsiteX1" fmla="*/ 12239753 w 12239753"/>
              <a:gd name="connsiteY1" fmla="*/ 0 h 6654655"/>
              <a:gd name="connsiteX2" fmla="*/ 12239753 w 12239753"/>
              <a:gd name="connsiteY2" fmla="*/ 6426200 h 6654655"/>
              <a:gd name="connsiteX3" fmla="*/ 9280653 w 12239753"/>
              <a:gd name="connsiteY3" fmla="*/ 6413500 h 6654655"/>
              <a:gd name="connsiteX4" fmla="*/ 8709153 w 12239753"/>
              <a:gd name="connsiteY4" fmla="*/ 6642027 h 6654655"/>
              <a:gd name="connsiteX5" fmla="*/ 0 w 12239753"/>
              <a:gd name="connsiteY5" fmla="*/ 6654655 h 6654655"/>
              <a:gd name="connsiteX6" fmla="*/ 50800 w 12239753"/>
              <a:gd name="connsiteY6" fmla="*/ 0 h 6654655"/>
              <a:gd name="connsiteX0" fmla="*/ 50800 w 12239753"/>
              <a:gd name="connsiteY0" fmla="*/ 12627 h 6667282"/>
              <a:gd name="connsiteX1" fmla="*/ 6143753 w 12239753"/>
              <a:gd name="connsiteY1" fmla="*/ 0 h 6667282"/>
              <a:gd name="connsiteX2" fmla="*/ 12239753 w 12239753"/>
              <a:gd name="connsiteY2" fmla="*/ 6438827 h 6667282"/>
              <a:gd name="connsiteX3" fmla="*/ 9280653 w 12239753"/>
              <a:gd name="connsiteY3" fmla="*/ 6426127 h 6667282"/>
              <a:gd name="connsiteX4" fmla="*/ 8709153 w 12239753"/>
              <a:gd name="connsiteY4" fmla="*/ 6654654 h 6667282"/>
              <a:gd name="connsiteX5" fmla="*/ 0 w 12239753"/>
              <a:gd name="connsiteY5" fmla="*/ 6667282 h 6667282"/>
              <a:gd name="connsiteX6" fmla="*/ 50800 w 12239753"/>
              <a:gd name="connsiteY6" fmla="*/ 12627 h 6667282"/>
              <a:gd name="connsiteX0" fmla="*/ 50800 w 9280653"/>
              <a:gd name="connsiteY0" fmla="*/ 12627 h 6667282"/>
              <a:gd name="connsiteX1" fmla="*/ 6143753 w 9280653"/>
              <a:gd name="connsiteY1" fmla="*/ 0 h 6667282"/>
              <a:gd name="connsiteX2" fmla="*/ 9280653 w 9280653"/>
              <a:gd name="connsiteY2" fmla="*/ 6426127 h 6667282"/>
              <a:gd name="connsiteX3" fmla="*/ 8709153 w 9280653"/>
              <a:gd name="connsiteY3" fmla="*/ 6654654 h 6667282"/>
              <a:gd name="connsiteX4" fmla="*/ 0 w 9280653"/>
              <a:gd name="connsiteY4" fmla="*/ 6667282 h 6667282"/>
              <a:gd name="connsiteX5" fmla="*/ 50800 w 9280653"/>
              <a:gd name="connsiteY5" fmla="*/ 12627 h 6667282"/>
              <a:gd name="connsiteX0" fmla="*/ 50800 w 8709153"/>
              <a:gd name="connsiteY0" fmla="*/ 12627 h 6667282"/>
              <a:gd name="connsiteX1" fmla="*/ 6143753 w 8709153"/>
              <a:gd name="connsiteY1" fmla="*/ 0 h 6667282"/>
              <a:gd name="connsiteX2" fmla="*/ 8709153 w 8709153"/>
              <a:gd name="connsiteY2" fmla="*/ 6654654 h 6667282"/>
              <a:gd name="connsiteX3" fmla="*/ 0 w 8709153"/>
              <a:gd name="connsiteY3" fmla="*/ 6667282 h 6667282"/>
              <a:gd name="connsiteX4" fmla="*/ 50800 w 87091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90083 w 6190083"/>
              <a:gd name="connsiteY2" fmla="*/ 6667282 h 6667282"/>
              <a:gd name="connsiteX3" fmla="*/ 8230 w 6190083"/>
              <a:gd name="connsiteY3" fmla="*/ 6667282 h 6667282"/>
              <a:gd name="connsiteX4" fmla="*/ 720 w 619008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86537 w 6190083"/>
              <a:gd name="connsiteY2" fmla="*/ 530294 h 6667282"/>
              <a:gd name="connsiteX3" fmla="*/ 6190083 w 6190083"/>
              <a:gd name="connsiteY3" fmla="*/ 6667282 h 6667282"/>
              <a:gd name="connsiteX4" fmla="*/ 8230 w 6190083"/>
              <a:gd name="connsiteY4" fmla="*/ 6667282 h 6667282"/>
              <a:gd name="connsiteX5" fmla="*/ 720 w 6190083"/>
              <a:gd name="connsiteY5" fmla="*/ 12627 h 6667282"/>
              <a:gd name="connsiteX0" fmla="*/ 720 w 6190083"/>
              <a:gd name="connsiteY0" fmla="*/ 0 h 6654655"/>
              <a:gd name="connsiteX1" fmla="*/ 5731178 w 6190083"/>
              <a:gd name="connsiteY1" fmla="*/ 17406 h 6654655"/>
              <a:gd name="connsiteX2" fmla="*/ 6186537 w 6190083"/>
              <a:gd name="connsiteY2" fmla="*/ 517667 h 6654655"/>
              <a:gd name="connsiteX3" fmla="*/ 6190083 w 6190083"/>
              <a:gd name="connsiteY3" fmla="*/ 6654655 h 6654655"/>
              <a:gd name="connsiteX4" fmla="*/ 8230 w 6190083"/>
              <a:gd name="connsiteY4" fmla="*/ 6654655 h 6654655"/>
              <a:gd name="connsiteX5" fmla="*/ 720 w 6190083"/>
              <a:gd name="connsiteY5" fmla="*/ 0 h 6654655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522786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485245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4629"/>
              <a:gd name="connsiteY0" fmla="*/ 5119 h 6659774"/>
              <a:gd name="connsiteX1" fmla="*/ 5731178 w 6194629"/>
              <a:gd name="connsiteY1" fmla="*/ 0 h 6659774"/>
              <a:gd name="connsiteX2" fmla="*/ 6194629 w 6194629"/>
              <a:gd name="connsiteY2" fmla="*/ 440195 h 6659774"/>
              <a:gd name="connsiteX3" fmla="*/ 6190083 w 6194629"/>
              <a:gd name="connsiteY3" fmla="*/ 6659774 h 6659774"/>
              <a:gd name="connsiteX4" fmla="*/ 8230 w 6194629"/>
              <a:gd name="connsiteY4" fmla="*/ 6659774 h 6659774"/>
              <a:gd name="connsiteX5" fmla="*/ 720 w 6194629"/>
              <a:gd name="connsiteY5" fmla="*/ 5119 h 665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4629" h="6659774">
                <a:moveTo>
                  <a:pt x="720" y="5119"/>
                </a:moveTo>
                <a:lnTo>
                  <a:pt x="5731178" y="0"/>
                </a:lnTo>
                <a:lnTo>
                  <a:pt x="6194629" y="440195"/>
                </a:lnTo>
                <a:cubicBezTo>
                  <a:pt x="6193114" y="2513388"/>
                  <a:pt x="6191598" y="4586581"/>
                  <a:pt x="6190083" y="6659774"/>
                </a:cubicBezTo>
                <a:lnTo>
                  <a:pt x="8230" y="6659774"/>
                </a:lnTo>
                <a:cubicBezTo>
                  <a:pt x="12463" y="4449974"/>
                  <a:pt x="-3513" y="2214919"/>
                  <a:pt x="720" y="5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640080" anchor="ctr"/>
          <a:lstStyle>
            <a:lvl1pPr marL="0" indent="0" algn="ctr">
              <a:buNone/>
              <a:defRPr sz="1600">
                <a:solidFill>
                  <a:schemeClr val="accent5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11279" y="4615198"/>
            <a:ext cx="3653537" cy="1249154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3537" h="1249154">
                <a:moveTo>
                  <a:pt x="0" y="1249154"/>
                </a:moveTo>
                <a:cubicBezTo>
                  <a:pt x="1311" y="833328"/>
                  <a:pt x="2623" y="417503"/>
                  <a:pt x="3934" y="1677"/>
                </a:cubicBezTo>
                <a:lnTo>
                  <a:pt x="2601911" y="0"/>
                </a:lnTo>
                <a:lnTo>
                  <a:pt x="3150718" y="266682"/>
                </a:lnTo>
                <a:lnTo>
                  <a:pt x="3653537" y="269460"/>
                </a:lnTo>
                <a:lnTo>
                  <a:pt x="3020612" y="1244866"/>
                </a:lnTo>
                <a:lnTo>
                  <a:pt x="0" y="1249154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2466" y="4882452"/>
            <a:ext cx="5344068" cy="1070462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06485"/>
                  <a:pt x="1336" y="974496"/>
                </a:cubicBezTo>
                <a:lnTo>
                  <a:pt x="3026175" y="973518"/>
                </a:lnTo>
                <a:lnTo>
                  <a:pt x="3647902" y="0"/>
                </a:ln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06495" y="4725035"/>
            <a:ext cx="2967229" cy="103505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71009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61100" y="3163874"/>
            <a:ext cx="5486400" cy="1402435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4" name="Rectangle 6">
            <a:extLst>
              <a:ext uri="{FF2B5EF4-FFF2-40B4-BE49-F238E27FC236}">
                <a16:creationId xmlns:a16="http://schemas.microsoft.com/office/drawing/2014/main" id="{9A684274-C089-4AB2-BFEC-75EED328030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9642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MS PGothic" pitchFamily="34" charset="-128"/>
            </a:endParaRPr>
          </a:p>
        </p:txBody>
      </p: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622BF81C-8C92-4874-B754-F35BAEE44E6B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41617"/>
            <a:chExt cx="932562" cy="679259"/>
          </a:xfrm>
        </p:grpSpPr>
        <p:grpSp>
          <p:nvGrpSpPr>
            <p:cNvPr id="105" name="Graphic 42">
              <a:extLst>
                <a:ext uri="{FF2B5EF4-FFF2-40B4-BE49-F238E27FC236}">
                  <a16:creationId xmlns:a16="http://schemas.microsoft.com/office/drawing/2014/main" id="{E568D6B0-7235-4F63-8FD4-1304A273F703}"/>
                </a:ext>
              </a:extLst>
            </p:cNvPr>
            <p:cNvGrpSpPr/>
            <p:nvPr userDrawn="1"/>
          </p:nvGrpSpPr>
          <p:grpSpPr>
            <a:xfrm flipV="1">
              <a:off x="11042268" y="241617"/>
              <a:ext cx="907034" cy="112903"/>
              <a:chOff x="10978768" y="6357873"/>
              <a:chExt cx="907034" cy="112903"/>
            </a:xfrm>
            <a:solidFill>
              <a:schemeClr val="tx2"/>
            </a:solidFill>
          </p:grpSpPr>
          <p:sp>
            <p:nvSpPr>
              <p:cNvPr id="145" name="Freeform: Shape 144">
                <a:extLst>
                  <a:ext uri="{FF2B5EF4-FFF2-40B4-BE49-F238E27FC236}">
                    <a16:creationId xmlns:a16="http://schemas.microsoft.com/office/drawing/2014/main" id="{10A4EDEE-60A8-4CA1-8C6C-B1A59B9AAA94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6" name="Freeform: Shape 145">
                <a:extLst>
                  <a:ext uri="{FF2B5EF4-FFF2-40B4-BE49-F238E27FC236}">
                    <a16:creationId xmlns:a16="http://schemas.microsoft.com/office/drawing/2014/main" id="{C3B7B098-659E-488E-90A9-088C6F099033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7" name="Freeform: Shape 146">
                <a:extLst>
                  <a:ext uri="{FF2B5EF4-FFF2-40B4-BE49-F238E27FC236}">
                    <a16:creationId xmlns:a16="http://schemas.microsoft.com/office/drawing/2014/main" id="{6AE71A07-AE0B-4178-A5F6-AB7BB11A3CBE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8" name="Freeform: Shape 147">
                <a:extLst>
                  <a:ext uri="{FF2B5EF4-FFF2-40B4-BE49-F238E27FC236}">
                    <a16:creationId xmlns:a16="http://schemas.microsoft.com/office/drawing/2014/main" id="{34276330-EC2F-4A30-B282-5DCD54D3178B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9" name="Freeform: Shape 148">
                <a:extLst>
                  <a:ext uri="{FF2B5EF4-FFF2-40B4-BE49-F238E27FC236}">
                    <a16:creationId xmlns:a16="http://schemas.microsoft.com/office/drawing/2014/main" id="{77BEE7F7-3CDF-4CF8-9E3D-615432308969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0" name="Freeform: Shape 149">
                <a:extLst>
                  <a:ext uri="{FF2B5EF4-FFF2-40B4-BE49-F238E27FC236}">
                    <a16:creationId xmlns:a16="http://schemas.microsoft.com/office/drawing/2014/main" id="{B5C0A146-E625-4735-9771-349C2400D3EA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1" name="Freeform: Shape 150">
                <a:extLst>
                  <a:ext uri="{FF2B5EF4-FFF2-40B4-BE49-F238E27FC236}">
                    <a16:creationId xmlns:a16="http://schemas.microsoft.com/office/drawing/2014/main" id="{D0420B36-AAB5-4FF1-82E1-06B41A5B4ABD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2" name="Freeform: Shape 151">
                <a:extLst>
                  <a:ext uri="{FF2B5EF4-FFF2-40B4-BE49-F238E27FC236}">
                    <a16:creationId xmlns:a16="http://schemas.microsoft.com/office/drawing/2014/main" id="{04E9DCBD-CCB5-4A5C-86AE-6BCDB1E40A8D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3" name="Freeform: Shape 152">
                <a:extLst>
                  <a:ext uri="{FF2B5EF4-FFF2-40B4-BE49-F238E27FC236}">
                    <a16:creationId xmlns:a16="http://schemas.microsoft.com/office/drawing/2014/main" id="{A416D017-D6E0-4DC1-823E-5845DE753001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4" name="Freeform: Shape 153">
                <a:extLst>
                  <a:ext uri="{FF2B5EF4-FFF2-40B4-BE49-F238E27FC236}">
                    <a16:creationId xmlns:a16="http://schemas.microsoft.com/office/drawing/2014/main" id="{3BE4E828-4630-454A-9FD2-816AD593BB24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5" name="Freeform: Shape 154">
                <a:extLst>
                  <a:ext uri="{FF2B5EF4-FFF2-40B4-BE49-F238E27FC236}">
                    <a16:creationId xmlns:a16="http://schemas.microsoft.com/office/drawing/2014/main" id="{2B020603-974F-49ED-9816-FF25449521DE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6" name="Freeform: Shape 155">
                <a:extLst>
                  <a:ext uri="{FF2B5EF4-FFF2-40B4-BE49-F238E27FC236}">
                    <a16:creationId xmlns:a16="http://schemas.microsoft.com/office/drawing/2014/main" id="{4367F2B9-5CD4-43F8-B8A1-60064B54B7CC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7" name="Freeform: Shape 156">
                <a:extLst>
                  <a:ext uri="{FF2B5EF4-FFF2-40B4-BE49-F238E27FC236}">
                    <a16:creationId xmlns:a16="http://schemas.microsoft.com/office/drawing/2014/main" id="{A8E38A1B-0C0C-4FBB-AE3C-20444C27C9F1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8" name="Freeform: Shape 157">
                <a:extLst>
                  <a:ext uri="{FF2B5EF4-FFF2-40B4-BE49-F238E27FC236}">
                    <a16:creationId xmlns:a16="http://schemas.microsoft.com/office/drawing/2014/main" id="{98C9F42D-534C-4892-B8B6-E10A259E2DBC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9" name="Freeform: Shape 158">
                <a:extLst>
                  <a:ext uri="{FF2B5EF4-FFF2-40B4-BE49-F238E27FC236}">
                    <a16:creationId xmlns:a16="http://schemas.microsoft.com/office/drawing/2014/main" id="{1B762651-B664-45E3-9EBF-33B697DB98F1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1A205D60-7A0B-40BD-A939-EE122ED20B37}"/>
                </a:ext>
              </a:extLst>
            </p:cNvPr>
            <p:cNvSpPr/>
            <p:nvPr userDrawn="1"/>
          </p:nvSpPr>
          <p:spPr>
            <a:xfrm rot="5400000" flipV="1">
              <a:off x="11916016" y="3989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chemeClr val="tx2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37" name="Graphic 42">
              <a:extLst>
                <a:ext uri="{FF2B5EF4-FFF2-40B4-BE49-F238E27FC236}">
                  <a16:creationId xmlns:a16="http://schemas.microsoft.com/office/drawing/2014/main" id="{8AA96B41-8C6C-4551-9D36-29216EB4819D}"/>
                </a:ext>
              </a:extLst>
            </p:cNvPr>
            <p:cNvGrpSpPr/>
            <p:nvPr userDrawn="1"/>
          </p:nvGrpSpPr>
          <p:grpSpPr>
            <a:xfrm flipV="1">
              <a:off x="11901678" y="510222"/>
              <a:ext cx="73152" cy="410654"/>
              <a:chOff x="11838178" y="5791517"/>
              <a:chExt cx="73152" cy="410654"/>
            </a:xfrm>
            <a:solidFill>
              <a:schemeClr val="tx2"/>
            </a:solidFill>
          </p:grpSpPr>
          <p:grpSp>
            <p:nvGrpSpPr>
              <p:cNvPr id="138" name="Graphic 42">
                <a:extLst>
                  <a:ext uri="{FF2B5EF4-FFF2-40B4-BE49-F238E27FC236}">
                    <a16:creationId xmlns:a16="http://schemas.microsoft.com/office/drawing/2014/main" id="{0CD3D9AF-D94D-43C9-AA91-229D4031AEE1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40" name="Freeform: Shape 139">
                  <a:extLst>
                    <a:ext uri="{FF2B5EF4-FFF2-40B4-BE49-F238E27FC236}">
                      <a16:creationId xmlns:a16="http://schemas.microsoft.com/office/drawing/2014/main" id="{0E029371-C330-47F9-A0F3-ABC959DE9DF7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41" name="Freeform: Shape 140">
                  <a:extLst>
                    <a:ext uri="{FF2B5EF4-FFF2-40B4-BE49-F238E27FC236}">
                      <a16:creationId xmlns:a16="http://schemas.microsoft.com/office/drawing/2014/main" id="{681125CA-51AE-475B-9D66-832CDCC59D38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42" name="Freeform: Shape 141">
                  <a:extLst>
                    <a:ext uri="{FF2B5EF4-FFF2-40B4-BE49-F238E27FC236}">
                      <a16:creationId xmlns:a16="http://schemas.microsoft.com/office/drawing/2014/main" id="{30E3BD46-19A2-4F96-B247-2728A73E0C3C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43" name="Freeform: Shape 142">
                  <a:extLst>
                    <a:ext uri="{FF2B5EF4-FFF2-40B4-BE49-F238E27FC236}">
                      <a16:creationId xmlns:a16="http://schemas.microsoft.com/office/drawing/2014/main" id="{3EF36F85-4F4B-48E3-AA97-2002101AE421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44" name="Freeform: Shape 143">
                  <a:extLst>
                    <a:ext uri="{FF2B5EF4-FFF2-40B4-BE49-F238E27FC236}">
                      <a16:creationId xmlns:a16="http://schemas.microsoft.com/office/drawing/2014/main" id="{3E05F5B7-FFB4-4203-B5E3-9FD5501A47D3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grpFill/>
                <a:ln w="6350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39" name="Freeform: Shape 138">
                <a:extLst>
                  <a:ext uri="{FF2B5EF4-FFF2-40B4-BE49-F238E27FC236}">
                    <a16:creationId xmlns:a16="http://schemas.microsoft.com/office/drawing/2014/main" id="{EB20F609-F79C-40C7-9E29-8B0DE2FD76CC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20695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5361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95044" y="4782219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8997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89659" y="4782219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71291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870974" y="4782219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604973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79958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980903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709928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201977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00204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99986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0219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0198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82692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82474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771648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771430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160544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26253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431988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343032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709928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59886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09928"/>
            <a:ext cx="10789920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 marL="932688"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8507" y="2864755"/>
            <a:ext cx="1600200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98507" y="4784343"/>
            <a:ext cx="1600200" cy="553998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95408" y="2864755"/>
            <a:ext cx="1600200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895408" y="4784343"/>
            <a:ext cx="1600200" cy="553998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292309" y="2864755"/>
            <a:ext cx="1600200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292309" y="4784343"/>
            <a:ext cx="1600200" cy="553998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689210" y="2864755"/>
            <a:ext cx="1600200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689210" y="4784343"/>
            <a:ext cx="1600200" cy="553998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99089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387800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8181602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5784701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709928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A443D19A-1751-43D6-A160-5296A53060FE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10578504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7D8C84A-E732-4EA8-8388-80FC2F2F601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0086112" y="2864755"/>
            <a:ext cx="1600200" cy="221599"/>
          </a:xfrm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1600" b="1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73FB3A0-2394-412A-B5B0-D0E4A63CD9B0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0086112" y="4784343"/>
            <a:ext cx="1600200" cy="557784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en-US" dirty="0"/>
              <a:t>Add a short paragraph – not too long – or a bulleted list</a:t>
            </a:r>
          </a:p>
        </p:txBody>
      </p:sp>
    </p:spTree>
    <p:extLst>
      <p:ext uri="{BB962C8B-B14F-4D97-AF65-F5344CB8AC3E}">
        <p14:creationId xmlns:p14="http://schemas.microsoft.com/office/powerpoint/2010/main" val="2251642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ln>
            <a:solidFill>
              <a:schemeClr val="bg2"/>
            </a:solidFill>
          </a:ln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116896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5"/>
            <a:ext cx="10789920" cy="4482201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DD20BEA-D0C6-499E-90FB-BB7F1A830939}"/>
              </a:ext>
            </a:extLst>
          </p:cNvPr>
          <p:cNvSpPr/>
          <p:nvPr userDrawn="1"/>
        </p:nvSpPr>
        <p:spPr>
          <a:xfrm>
            <a:off x="3048" y="6624536"/>
            <a:ext cx="12188952" cy="233465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8374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3BA5223-32A3-4F4D-A64E-5A3DC4846203}"/>
              </a:ext>
            </a:extLst>
          </p:cNvPr>
          <p:cNvSpPr/>
          <p:nvPr userDrawn="1"/>
        </p:nvSpPr>
        <p:spPr>
          <a:xfrm>
            <a:off x="3048" y="6601968"/>
            <a:ext cx="12188952" cy="256032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2692212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3C46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0">
            <a:hlinkClick r:id="rId2"/>
            <a:extLst>
              <a:ext uri="{FF2B5EF4-FFF2-40B4-BE49-F238E27FC236}">
                <a16:creationId xmlns:a16="http://schemas.microsoft.com/office/drawing/2014/main" id="{7ED43A46-AFFE-4105-A07A-4D800F0FD780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9ABB46-9366-47EC-8281-970F2B4A701E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61A34D6B-75F2-4EF8-8F57-128F503089F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latin typeface="+mn-lt"/>
                </a:rPr>
                <a:t>you</a:t>
              </a:r>
            </a:p>
          </p:txBody>
        </p:sp>
        <p:sp>
          <p:nvSpPr>
            <p:cNvPr id="31" name="Title 5">
              <a:extLst>
                <a:ext uri="{FF2B5EF4-FFF2-40B4-BE49-F238E27FC236}">
                  <a16:creationId xmlns:a16="http://schemas.microsoft.com/office/drawing/2014/main" id="{21ED058C-9AE3-4F6F-8EC1-CF71ABA785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/>
                <a:t>thank</a:t>
              </a:r>
            </a:p>
          </p:txBody>
        </p:sp>
      </p:grpSp>
      <p:pic>
        <p:nvPicPr>
          <p:cNvPr id="38" name="Picture 37">
            <a:hlinkClick r:id="rId3"/>
            <a:extLst>
              <a:ext uri="{FF2B5EF4-FFF2-40B4-BE49-F238E27FC236}">
                <a16:creationId xmlns:a16="http://schemas.microsoft.com/office/drawing/2014/main" id="{6C96BA37-A42C-42D5-9D7A-F22A1448F7E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48938" y="5879317"/>
            <a:ext cx="329213" cy="396274"/>
          </a:xfrm>
          <a:prstGeom prst="rect">
            <a:avLst/>
          </a:prstGeom>
        </p:spPr>
      </p:pic>
      <p:pic>
        <p:nvPicPr>
          <p:cNvPr id="52" name="Picture 51">
            <a:hlinkClick r:id="rId5"/>
            <a:extLst>
              <a:ext uri="{FF2B5EF4-FFF2-40B4-BE49-F238E27FC236}">
                <a16:creationId xmlns:a16="http://schemas.microsoft.com/office/drawing/2014/main" id="{7B0A66D6-16A5-4237-A88D-05AB2F1BE13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203673" y="5871207"/>
            <a:ext cx="335309" cy="396274"/>
          </a:xfrm>
          <a:prstGeom prst="rect">
            <a:avLst/>
          </a:prstGeom>
        </p:spPr>
      </p:pic>
      <p:pic>
        <p:nvPicPr>
          <p:cNvPr id="53" name="Picture 52">
            <a:hlinkClick r:id="rId7"/>
            <a:extLst>
              <a:ext uri="{FF2B5EF4-FFF2-40B4-BE49-F238E27FC236}">
                <a16:creationId xmlns:a16="http://schemas.microsoft.com/office/drawing/2014/main" id="{4CD33D67-5AAB-49B0-981E-C7AA8350A7CA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664504" y="5871207"/>
            <a:ext cx="329213" cy="396274"/>
          </a:xfrm>
          <a:prstGeom prst="rect">
            <a:avLst/>
          </a:prstGeom>
        </p:spPr>
      </p:pic>
      <p:pic>
        <p:nvPicPr>
          <p:cNvPr id="54" name="Picture 53">
            <a:hlinkClick r:id="rId9"/>
            <a:extLst>
              <a:ext uri="{FF2B5EF4-FFF2-40B4-BE49-F238E27FC236}">
                <a16:creationId xmlns:a16="http://schemas.microsoft.com/office/drawing/2014/main" id="{68B666AB-3239-41A1-A705-1F00F02B3410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2119238" y="5871207"/>
            <a:ext cx="329213" cy="39627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A04CD8-5708-409A-BF83-42BA422C7DE0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88658" y="461079"/>
            <a:ext cx="3066773" cy="124358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115C6C5-F9D6-448E-B1B2-C8028536A3FE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255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8309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0310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2944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7342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EFC5878C-9611-44EE-9BF6-9A5E670F3220}"/>
              </a:ext>
            </a:extLst>
          </p:cNvPr>
          <p:cNvGrpSpPr/>
          <p:nvPr userDrawn="1"/>
        </p:nvGrpSpPr>
        <p:grpSpPr>
          <a:xfrm>
            <a:off x="5098163" y="-455836"/>
            <a:ext cx="8421905" cy="7945936"/>
            <a:chOff x="5098163" y="-455836"/>
            <a:chExt cx="8421905" cy="7945936"/>
          </a:xfrm>
          <a:blipFill>
            <a:blip r:embed="rId6"/>
            <a:stretch>
              <a:fillRect/>
            </a:stretch>
          </a:blipFill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4585A574-F6C9-486A-BF8E-B26489EBC327}"/>
                </a:ext>
              </a:extLst>
            </p:cNvPr>
            <p:cNvSpPr/>
            <p:nvPr userDrawn="1"/>
          </p:nvSpPr>
          <p:spPr>
            <a:xfrm rot="13821780">
              <a:off x="5239135" y="-596808"/>
              <a:ext cx="5190684" cy="5472628"/>
            </a:xfrm>
            <a:custGeom>
              <a:avLst/>
              <a:gdLst>
                <a:gd name="connsiteX0" fmla="*/ 5190684 w 5190684"/>
                <a:gd name="connsiteY0" fmla="*/ 2965814 h 5472628"/>
                <a:gd name="connsiteX1" fmla="*/ 3114139 w 5190684"/>
                <a:gd name="connsiteY1" fmla="*/ 5472628 h 5472628"/>
                <a:gd name="connsiteX2" fmla="*/ 0 w 5190684"/>
                <a:gd name="connsiteY2" fmla="*/ 0 h 5472628"/>
                <a:gd name="connsiteX3" fmla="*/ 3133747 w 5190684"/>
                <a:gd name="connsiteY3" fmla="*/ 0 h 5472628"/>
                <a:gd name="connsiteX4" fmla="*/ 3518511 w 5190684"/>
                <a:gd name="connsiteY4" fmla="*/ 169 h 5472628"/>
                <a:gd name="connsiteX5" fmla="*/ 5190684 w 5190684"/>
                <a:gd name="connsiteY5" fmla="*/ 2965814 h 5472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90684" h="5472628">
                  <a:moveTo>
                    <a:pt x="5190684" y="2965814"/>
                  </a:moveTo>
                  <a:lnTo>
                    <a:pt x="3114139" y="5472628"/>
                  </a:lnTo>
                  <a:lnTo>
                    <a:pt x="0" y="0"/>
                  </a:lnTo>
                  <a:lnTo>
                    <a:pt x="3133747" y="0"/>
                  </a:lnTo>
                  <a:lnTo>
                    <a:pt x="3518511" y="169"/>
                  </a:lnTo>
                  <a:lnTo>
                    <a:pt x="5190684" y="2965814"/>
                  </a:lnTo>
                  <a:close/>
                </a:path>
              </a:pathLst>
            </a:cu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800"/>
                </a:spcBef>
              </a:pP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3B0B130-7D67-4CAE-B150-D073A38C66C7}"/>
                </a:ext>
              </a:extLst>
            </p:cNvPr>
            <p:cNvSpPr/>
            <p:nvPr userDrawn="1"/>
          </p:nvSpPr>
          <p:spPr>
            <a:xfrm rot="13821780">
              <a:off x="8007792" y="1977824"/>
              <a:ext cx="5029645" cy="5994907"/>
            </a:xfrm>
            <a:custGeom>
              <a:avLst/>
              <a:gdLst>
                <a:gd name="connsiteX0" fmla="*/ 3516449 w 5029645"/>
                <a:gd name="connsiteY0" fmla="*/ 5994907 h 5994907"/>
                <a:gd name="connsiteX1" fmla="*/ 1394416 w 5029645"/>
                <a:gd name="connsiteY1" fmla="*/ 4237097 h 5994907"/>
                <a:gd name="connsiteX2" fmla="*/ 1677138 w 5029645"/>
                <a:gd name="connsiteY2" fmla="*/ 3756672 h 5994907"/>
                <a:gd name="connsiteX3" fmla="*/ 1317698 w 5029645"/>
                <a:gd name="connsiteY3" fmla="*/ 3124534 h 5994907"/>
                <a:gd name="connsiteX4" fmla="*/ 920847 w 5029645"/>
                <a:gd name="connsiteY4" fmla="*/ 3844814 h 5994907"/>
                <a:gd name="connsiteX5" fmla="*/ 280815 w 5029645"/>
                <a:gd name="connsiteY5" fmla="*/ 3314638 h 5994907"/>
                <a:gd name="connsiteX6" fmla="*/ 280817 w 5029645"/>
                <a:gd name="connsiteY6" fmla="*/ 3314636 h 5994907"/>
                <a:gd name="connsiteX7" fmla="*/ 0 w 5029645"/>
                <a:gd name="connsiteY7" fmla="*/ 3082019 h 5994907"/>
                <a:gd name="connsiteX8" fmla="*/ 2553021 w 5029645"/>
                <a:gd name="connsiteY8" fmla="*/ 0 h 5994907"/>
                <a:gd name="connsiteX9" fmla="*/ 3082168 w 5029645"/>
                <a:gd name="connsiteY9" fmla="*/ 0 h 5994907"/>
                <a:gd name="connsiteX10" fmla="*/ 3870352 w 5029645"/>
                <a:gd name="connsiteY10" fmla="*/ 1377053 h 5994907"/>
                <a:gd name="connsiteX11" fmla="*/ 5029645 w 5029645"/>
                <a:gd name="connsiteY11" fmla="*/ 3437574 h 5994907"/>
                <a:gd name="connsiteX12" fmla="*/ 3516449 w 5029645"/>
                <a:gd name="connsiteY12" fmla="*/ 5994907 h 5994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29645" h="5994907">
                  <a:moveTo>
                    <a:pt x="3516449" y="5994907"/>
                  </a:moveTo>
                  <a:lnTo>
                    <a:pt x="1394416" y="4237097"/>
                  </a:lnTo>
                  <a:lnTo>
                    <a:pt x="1677138" y="3756672"/>
                  </a:lnTo>
                  <a:lnTo>
                    <a:pt x="1317698" y="3124534"/>
                  </a:lnTo>
                  <a:lnTo>
                    <a:pt x="920847" y="3844814"/>
                  </a:lnTo>
                  <a:lnTo>
                    <a:pt x="280815" y="3314638"/>
                  </a:lnTo>
                  <a:lnTo>
                    <a:pt x="280817" y="3314636"/>
                  </a:lnTo>
                  <a:lnTo>
                    <a:pt x="0" y="3082019"/>
                  </a:lnTo>
                  <a:lnTo>
                    <a:pt x="2553021" y="0"/>
                  </a:lnTo>
                  <a:lnTo>
                    <a:pt x="3082168" y="0"/>
                  </a:lnTo>
                  <a:lnTo>
                    <a:pt x="3870352" y="1377053"/>
                  </a:lnTo>
                  <a:lnTo>
                    <a:pt x="5029645" y="3437574"/>
                  </a:lnTo>
                  <a:lnTo>
                    <a:pt x="3516449" y="5994907"/>
                  </a:lnTo>
                  <a:close/>
                </a:path>
              </a:pathLst>
            </a:cu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800"/>
                </a:spcBef>
              </a:pP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A1D2E00-7E98-4FA8-A326-76AF19535B65}"/>
                </a:ext>
              </a:extLst>
            </p:cNvPr>
            <p:cNvSpPr/>
            <p:nvPr userDrawn="1"/>
          </p:nvSpPr>
          <p:spPr>
            <a:xfrm>
              <a:off x="9497710" y="0"/>
              <a:ext cx="2694290" cy="2106092"/>
            </a:xfrm>
            <a:custGeom>
              <a:avLst/>
              <a:gdLst>
                <a:gd name="connsiteX0" fmla="*/ 802401 w 2694290"/>
                <a:gd name="connsiteY0" fmla="*/ 0 h 2106092"/>
                <a:gd name="connsiteX1" fmla="*/ 2694290 w 2694290"/>
                <a:gd name="connsiteY1" fmla="*/ 0 h 2106092"/>
                <a:gd name="connsiteX2" fmla="*/ 2694290 w 2694290"/>
                <a:gd name="connsiteY2" fmla="*/ 1678210 h 2106092"/>
                <a:gd name="connsiteX3" fmla="*/ 0 w 2694290"/>
                <a:gd name="connsiteY3" fmla="*/ 2106092 h 2106092"/>
                <a:gd name="connsiteX4" fmla="*/ 802401 w 2694290"/>
                <a:gd name="connsiteY4" fmla="*/ 0 h 2106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94290" h="2106092">
                  <a:moveTo>
                    <a:pt x="802401" y="0"/>
                  </a:moveTo>
                  <a:lnTo>
                    <a:pt x="2694290" y="0"/>
                  </a:lnTo>
                  <a:lnTo>
                    <a:pt x="2694290" y="1678210"/>
                  </a:lnTo>
                  <a:lnTo>
                    <a:pt x="0" y="2106092"/>
                  </a:lnTo>
                  <a:lnTo>
                    <a:pt x="802401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A609CD9C-78F1-4D79-B36E-32B655429E76}"/>
              </a:ext>
            </a:extLst>
          </p:cNvPr>
          <p:cNvSpPr/>
          <p:nvPr userDrawn="1"/>
        </p:nvSpPr>
        <p:spPr>
          <a:xfrm rot="13821780">
            <a:off x="8007167" y="1970199"/>
            <a:ext cx="5029645" cy="6007608"/>
          </a:xfrm>
          <a:custGeom>
            <a:avLst/>
            <a:gdLst>
              <a:gd name="connsiteX0" fmla="*/ 3516449 w 5029645"/>
              <a:gd name="connsiteY0" fmla="*/ 5994907 h 5994907"/>
              <a:gd name="connsiteX1" fmla="*/ 1394416 w 5029645"/>
              <a:gd name="connsiteY1" fmla="*/ 4237097 h 5994907"/>
              <a:gd name="connsiteX2" fmla="*/ 1677138 w 5029645"/>
              <a:gd name="connsiteY2" fmla="*/ 3756672 h 5994907"/>
              <a:gd name="connsiteX3" fmla="*/ 1317698 w 5029645"/>
              <a:gd name="connsiteY3" fmla="*/ 3124534 h 5994907"/>
              <a:gd name="connsiteX4" fmla="*/ 920847 w 5029645"/>
              <a:gd name="connsiteY4" fmla="*/ 3844814 h 5994907"/>
              <a:gd name="connsiteX5" fmla="*/ 280815 w 5029645"/>
              <a:gd name="connsiteY5" fmla="*/ 3314638 h 5994907"/>
              <a:gd name="connsiteX6" fmla="*/ 280817 w 5029645"/>
              <a:gd name="connsiteY6" fmla="*/ 3314636 h 5994907"/>
              <a:gd name="connsiteX7" fmla="*/ 0 w 5029645"/>
              <a:gd name="connsiteY7" fmla="*/ 3082019 h 5994907"/>
              <a:gd name="connsiteX8" fmla="*/ 2553021 w 5029645"/>
              <a:gd name="connsiteY8" fmla="*/ 0 h 5994907"/>
              <a:gd name="connsiteX9" fmla="*/ 3082168 w 5029645"/>
              <a:gd name="connsiteY9" fmla="*/ 0 h 5994907"/>
              <a:gd name="connsiteX10" fmla="*/ 3870352 w 5029645"/>
              <a:gd name="connsiteY10" fmla="*/ 1377053 h 5994907"/>
              <a:gd name="connsiteX11" fmla="*/ 5029645 w 5029645"/>
              <a:gd name="connsiteY11" fmla="*/ 3437574 h 5994907"/>
              <a:gd name="connsiteX12" fmla="*/ 3516449 w 5029645"/>
              <a:gd name="connsiteY12" fmla="*/ 5994907 h 5994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029645" h="5994907">
                <a:moveTo>
                  <a:pt x="3516449" y="5994907"/>
                </a:moveTo>
                <a:lnTo>
                  <a:pt x="1394416" y="4237097"/>
                </a:lnTo>
                <a:lnTo>
                  <a:pt x="1677138" y="3756672"/>
                </a:lnTo>
                <a:lnTo>
                  <a:pt x="1317698" y="3124534"/>
                </a:lnTo>
                <a:lnTo>
                  <a:pt x="920847" y="3844814"/>
                </a:lnTo>
                <a:lnTo>
                  <a:pt x="280815" y="3314638"/>
                </a:lnTo>
                <a:lnTo>
                  <a:pt x="280817" y="3314636"/>
                </a:lnTo>
                <a:lnTo>
                  <a:pt x="0" y="3082019"/>
                </a:lnTo>
                <a:lnTo>
                  <a:pt x="2553021" y="0"/>
                </a:lnTo>
                <a:lnTo>
                  <a:pt x="3082168" y="0"/>
                </a:lnTo>
                <a:lnTo>
                  <a:pt x="3870352" y="1377053"/>
                </a:lnTo>
                <a:lnTo>
                  <a:pt x="5029645" y="3437574"/>
                </a:lnTo>
                <a:lnTo>
                  <a:pt x="3516449" y="5994907"/>
                </a:lnTo>
                <a:close/>
              </a:path>
            </a:pathLst>
          </a:custGeom>
          <a:solidFill>
            <a:srgbClr val="6CC04A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Bef>
                <a:spcPts val="800"/>
              </a:spcBef>
            </a:pP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2976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3207401"/>
            <a:ext cx="3182076" cy="443198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dirty="0"/>
              <a:t>add titl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E0358D3-AC90-494A-B98F-19BDE159DB8E}"/>
              </a:ext>
            </a:extLst>
          </p:cNvPr>
          <p:cNvCxnSpPr>
            <a:cxnSpLocks/>
          </p:cNvCxnSpPr>
          <p:nvPr userDrawn="1"/>
        </p:nvCxnSpPr>
        <p:spPr>
          <a:xfrm>
            <a:off x="4080163" y="1051560"/>
            <a:ext cx="0" cy="475488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83C623BC-A0F7-46D7-87A2-096962F1FEC4}"/>
              </a:ext>
            </a:extLst>
          </p:cNvPr>
          <p:cNvSpPr/>
          <p:nvPr userDrawn="1"/>
        </p:nvSpPr>
        <p:spPr>
          <a:xfrm flipH="1" flipV="1">
            <a:off x="510776" y="2887137"/>
            <a:ext cx="960120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3261691-7E98-456C-8945-F79E150DD66B}"/>
              </a:ext>
            </a:extLst>
          </p:cNvPr>
          <p:cNvSpPr/>
          <p:nvPr userDrawn="1"/>
        </p:nvSpPr>
        <p:spPr>
          <a:xfrm>
            <a:off x="490760" y="259080"/>
            <a:ext cx="1109440" cy="426721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10431AD-6A0B-4A59-8F14-809C8AA5B33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59679" y="2533884"/>
            <a:ext cx="6641783" cy="1790234"/>
          </a:xfrm>
        </p:spPr>
        <p:txBody>
          <a:bodyPr vert="horz" wrap="square" lIns="0" tIns="0" rIns="0" bIns="0" rtlCol="0" anchor="ctr" anchorCtr="0">
            <a:spAutoFit/>
          </a:bodyPr>
          <a:lstStyle>
            <a:lvl1pPr marL="457200" indent="-457200">
              <a:defRPr lang="en-US" sz="3600" dirty="0" smtClean="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84889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02795696-EB95-4185-8B89-3CC0AED5CF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74" t="11245" b="4417"/>
          <a:stretch/>
        </p:blipFill>
        <p:spPr>
          <a:xfrm>
            <a:off x="-24384" y="0"/>
            <a:ext cx="12233159" cy="6857999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40A4664-7303-44CA-9BE8-4A22FD0D7EBF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2752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0444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 dirty="0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86104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Background pattern&#10;&#10;Description automatically generated">
            <a:extLst>
              <a:ext uri="{FF2B5EF4-FFF2-40B4-BE49-F238E27FC236}">
                <a16:creationId xmlns:a16="http://schemas.microsoft.com/office/drawing/2014/main" id="{58F95B26-E9C8-461F-A9CE-9322F34A89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74" t="11245" b="4417"/>
          <a:stretch/>
        </p:blipFill>
        <p:spPr>
          <a:xfrm>
            <a:off x="-24384" y="0"/>
            <a:ext cx="12233159" cy="6857999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BB3FF62-BEB4-4BBC-9BB1-5AA72B48CF38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 dirty="0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6974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Background pattern&#10;&#10;Description automatically generated">
            <a:extLst>
              <a:ext uri="{FF2B5EF4-FFF2-40B4-BE49-F238E27FC236}">
                <a16:creationId xmlns:a16="http://schemas.microsoft.com/office/drawing/2014/main" id="{E8DB86CA-D14E-4B53-BA61-EA587191FB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74" t="11245" b="4417"/>
          <a:stretch/>
        </p:blipFill>
        <p:spPr>
          <a:xfrm>
            <a:off x="-24384" y="0"/>
            <a:ext cx="12233159" cy="6857999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86D6A8-93D9-4C96-8C7F-D7EAEC83A61E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0893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57200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6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image" Target="../media/image5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36" Type="http://schemas.openxmlformats.org/officeDocument/2006/relationships/image" Target="../media/image8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Relationship Id="rId35" Type="http://schemas.openxmlformats.org/officeDocument/2006/relationships/image" Target="../media/image7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83" imgH="384" progId="TCLayout.ActiveDocument.1">
                  <p:embed/>
                </p:oleObj>
              </mc:Choice>
              <mc:Fallback>
                <p:oleObj name="think-cell Slide" r:id="rId28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709928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3CC0558-A5CC-41DA-B025-39B57BA2FE65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24A4945-5D5C-4CE3-AF46-3DACE44E951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A4C4021E-2657-42B7-B4E3-54880BAF86D1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002BFEA-4620-4793-90D3-45DBE94C2925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17B3A833-BD4F-4383-8FE9-50958757C159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41617"/>
            <a:chExt cx="932562" cy="679259"/>
          </a:xfrm>
        </p:grpSpPr>
        <p:grpSp>
          <p:nvGrpSpPr>
            <p:cNvPr id="123" name="Graphic 42">
              <a:extLst>
                <a:ext uri="{FF2B5EF4-FFF2-40B4-BE49-F238E27FC236}">
                  <a16:creationId xmlns:a16="http://schemas.microsoft.com/office/drawing/2014/main" id="{C9CE943F-D82F-4669-9376-BFAC04830ABD}"/>
                </a:ext>
              </a:extLst>
            </p:cNvPr>
            <p:cNvGrpSpPr/>
            <p:nvPr userDrawn="1"/>
          </p:nvGrpSpPr>
          <p:grpSpPr>
            <a:xfrm flipV="1">
              <a:off x="11042268" y="241617"/>
              <a:ext cx="907034" cy="112903"/>
              <a:chOff x="10978768" y="6357873"/>
              <a:chExt cx="907034" cy="112903"/>
            </a:xfrm>
            <a:solidFill>
              <a:schemeClr val="tx2"/>
            </a:solidFill>
          </p:grpSpPr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453F8F07-CF6E-45C8-AC20-6B8B79C580CF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4" name="Freeform: Shape 133">
                <a:extLst>
                  <a:ext uri="{FF2B5EF4-FFF2-40B4-BE49-F238E27FC236}">
                    <a16:creationId xmlns:a16="http://schemas.microsoft.com/office/drawing/2014/main" id="{CED4C5C8-A7FC-4FB8-8D39-41B48E71D318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5" name="Freeform: Shape 134">
                <a:extLst>
                  <a:ext uri="{FF2B5EF4-FFF2-40B4-BE49-F238E27FC236}">
                    <a16:creationId xmlns:a16="http://schemas.microsoft.com/office/drawing/2014/main" id="{3875CC80-2EE3-44A2-AB9F-821C5BE5D095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6" name="Freeform: Shape 135">
                <a:extLst>
                  <a:ext uri="{FF2B5EF4-FFF2-40B4-BE49-F238E27FC236}">
                    <a16:creationId xmlns:a16="http://schemas.microsoft.com/office/drawing/2014/main" id="{CA54CFE8-6216-4380-A4C8-B1D07F3A1D94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7" name="Freeform: Shape 136">
                <a:extLst>
                  <a:ext uri="{FF2B5EF4-FFF2-40B4-BE49-F238E27FC236}">
                    <a16:creationId xmlns:a16="http://schemas.microsoft.com/office/drawing/2014/main" id="{2DEB6F89-07F4-4D3B-AB30-B973E58262D7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8" name="Freeform: Shape 137">
                <a:extLst>
                  <a:ext uri="{FF2B5EF4-FFF2-40B4-BE49-F238E27FC236}">
                    <a16:creationId xmlns:a16="http://schemas.microsoft.com/office/drawing/2014/main" id="{87673452-EAA0-4D54-9838-821974179A52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9" name="Freeform: Shape 138">
                <a:extLst>
                  <a:ext uri="{FF2B5EF4-FFF2-40B4-BE49-F238E27FC236}">
                    <a16:creationId xmlns:a16="http://schemas.microsoft.com/office/drawing/2014/main" id="{90AC6EB6-1C9C-4556-8400-349BEA629D3A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0" name="Freeform: Shape 139">
                <a:extLst>
                  <a:ext uri="{FF2B5EF4-FFF2-40B4-BE49-F238E27FC236}">
                    <a16:creationId xmlns:a16="http://schemas.microsoft.com/office/drawing/2014/main" id="{799D2756-4A52-4726-8D71-E99F167C5929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1" name="Freeform: Shape 140">
                <a:extLst>
                  <a:ext uri="{FF2B5EF4-FFF2-40B4-BE49-F238E27FC236}">
                    <a16:creationId xmlns:a16="http://schemas.microsoft.com/office/drawing/2014/main" id="{AA3E8461-8537-49BD-B1CD-2CA140B8BF1F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2" name="Freeform: Shape 141">
                <a:extLst>
                  <a:ext uri="{FF2B5EF4-FFF2-40B4-BE49-F238E27FC236}">
                    <a16:creationId xmlns:a16="http://schemas.microsoft.com/office/drawing/2014/main" id="{8B9D7C9B-8424-4A76-9E58-BA4DF16F73C4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3" name="Freeform: Shape 142">
                <a:extLst>
                  <a:ext uri="{FF2B5EF4-FFF2-40B4-BE49-F238E27FC236}">
                    <a16:creationId xmlns:a16="http://schemas.microsoft.com/office/drawing/2014/main" id="{A38571FC-9C89-46B5-8ACE-9F8A6C07C555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4" name="Freeform: Shape 143">
                <a:extLst>
                  <a:ext uri="{FF2B5EF4-FFF2-40B4-BE49-F238E27FC236}">
                    <a16:creationId xmlns:a16="http://schemas.microsoft.com/office/drawing/2014/main" id="{AE89493A-0CA0-47AE-84F9-23996CC80A99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5" name="Freeform: Shape 144">
                <a:extLst>
                  <a:ext uri="{FF2B5EF4-FFF2-40B4-BE49-F238E27FC236}">
                    <a16:creationId xmlns:a16="http://schemas.microsoft.com/office/drawing/2014/main" id="{C865DC70-EE04-478F-B674-FEF9458E11FF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6" name="Freeform: Shape 145">
                <a:extLst>
                  <a:ext uri="{FF2B5EF4-FFF2-40B4-BE49-F238E27FC236}">
                    <a16:creationId xmlns:a16="http://schemas.microsoft.com/office/drawing/2014/main" id="{D997C624-2682-4B08-9D15-7BFC41ADE59B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7" name="Freeform: Shape 146">
                <a:extLst>
                  <a:ext uri="{FF2B5EF4-FFF2-40B4-BE49-F238E27FC236}">
                    <a16:creationId xmlns:a16="http://schemas.microsoft.com/office/drawing/2014/main" id="{A5DD6C8D-6AAB-498F-85B3-83F734278836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B86A8B70-71D7-4C00-B48D-B0410F86AB4B}"/>
                </a:ext>
              </a:extLst>
            </p:cNvPr>
            <p:cNvSpPr/>
            <p:nvPr userDrawn="1"/>
          </p:nvSpPr>
          <p:spPr>
            <a:xfrm rot="5400000" flipV="1">
              <a:off x="11916016" y="3989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chemeClr val="tx2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25" name="Graphic 42">
              <a:extLst>
                <a:ext uri="{FF2B5EF4-FFF2-40B4-BE49-F238E27FC236}">
                  <a16:creationId xmlns:a16="http://schemas.microsoft.com/office/drawing/2014/main" id="{79F87CE9-05CD-4B99-9848-6C33FEA9AF91}"/>
                </a:ext>
              </a:extLst>
            </p:cNvPr>
            <p:cNvGrpSpPr/>
            <p:nvPr userDrawn="1"/>
          </p:nvGrpSpPr>
          <p:grpSpPr>
            <a:xfrm flipV="1">
              <a:off x="11901678" y="510222"/>
              <a:ext cx="73152" cy="410654"/>
              <a:chOff x="11838178" y="5791517"/>
              <a:chExt cx="73152" cy="410654"/>
            </a:xfrm>
            <a:solidFill>
              <a:schemeClr val="tx2"/>
            </a:solidFill>
          </p:grpSpPr>
          <p:grpSp>
            <p:nvGrpSpPr>
              <p:cNvPr id="126" name="Graphic 42">
                <a:extLst>
                  <a:ext uri="{FF2B5EF4-FFF2-40B4-BE49-F238E27FC236}">
                    <a16:creationId xmlns:a16="http://schemas.microsoft.com/office/drawing/2014/main" id="{FA297456-6C40-4A91-986C-614EE79FB8E7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28" name="Freeform: Shape 127">
                  <a:extLst>
                    <a:ext uri="{FF2B5EF4-FFF2-40B4-BE49-F238E27FC236}">
                      <a16:creationId xmlns:a16="http://schemas.microsoft.com/office/drawing/2014/main" id="{55ACF6A1-756F-4E15-AC83-CBAC518A9533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9" name="Freeform: Shape 128">
                  <a:extLst>
                    <a:ext uri="{FF2B5EF4-FFF2-40B4-BE49-F238E27FC236}">
                      <a16:creationId xmlns:a16="http://schemas.microsoft.com/office/drawing/2014/main" id="{EA354376-FA52-4C1E-B7E9-F6417BA2E92E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30" name="Freeform: Shape 129">
                  <a:extLst>
                    <a:ext uri="{FF2B5EF4-FFF2-40B4-BE49-F238E27FC236}">
                      <a16:creationId xmlns:a16="http://schemas.microsoft.com/office/drawing/2014/main" id="{7FADCCA1-0EFD-4333-AC19-FADC0B2CC096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31" name="Freeform: Shape 130">
                  <a:extLst>
                    <a:ext uri="{FF2B5EF4-FFF2-40B4-BE49-F238E27FC236}">
                      <a16:creationId xmlns:a16="http://schemas.microsoft.com/office/drawing/2014/main" id="{345B0990-518A-4D66-9558-A4A21E17FDDF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32" name="Freeform: Shape 131">
                  <a:extLst>
                    <a:ext uri="{FF2B5EF4-FFF2-40B4-BE49-F238E27FC236}">
                      <a16:creationId xmlns:a16="http://schemas.microsoft.com/office/drawing/2014/main" id="{82DC273E-06B6-4901-823A-42356C2C95FF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grpFill/>
                <a:ln w="6350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432D69D3-B1D9-4752-B422-0712A33B4E1E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9642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MS PGothic" pitchFamily="34" charset="-128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A370F2A-B6C2-46DD-AB45-7568E7C8545F}"/>
              </a:ext>
            </a:extLst>
          </p:cNvPr>
          <p:cNvGrpSpPr/>
          <p:nvPr userDrawn="1"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0881BC1C-CD55-4318-871B-A8A1D76C4E17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246A36A-338C-4A4E-A78D-8D2DDB37A0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6" r:id="rId1"/>
    <p:sldLayoutId id="2147483650" r:id="rId2"/>
    <p:sldLayoutId id="2147484057" r:id="rId3"/>
    <p:sldLayoutId id="2147484059" r:id="rId4"/>
    <p:sldLayoutId id="2147483998" r:id="rId5"/>
    <p:sldLayoutId id="2147483999" r:id="rId6"/>
    <p:sldLayoutId id="2147484000" r:id="rId7"/>
    <p:sldLayoutId id="2147483652" r:id="rId8"/>
    <p:sldLayoutId id="2147483653" r:id="rId9"/>
    <p:sldLayoutId id="2147483654" r:id="rId10"/>
    <p:sldLayoutId id="2147483938" r:id="rId11"/>
    <p:sldLayoutId id="2147483972" r:id="rId12"/>
    <p:sldLayoutId id="2147483963" r:id="rId13"/>
    <p:sldLayoutId id="2147483953" r:id="rId14"/>
    <p:sldLayoutId id="2147484001" r:id="rId15"/>
    <p:sldLayoutId id="2147484002" r:id="rId16"/>
    <p:sldLayoutId id="2147483971" r:id="rId17"/>
    <p:sldLayoutId id="2147483956" r:id="rId18"/>
    <p:sldLayoutId id="2147483992" r:id="rId19"/>
    <p:sldLayoutId id="2147484060" r:id="rId20"/>
    <p:sldLayoutId id="2147484054" r:id="rId21"/>
    <p:sldLayoutId id="2147484030" r:id="rId22"/>
    <p:sldLayoutId id="2147484028" r:id="rId23"/>
    <p:sldLayoutId id="2147483701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34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32688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8872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36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41732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5.svg"/><Relationship Id="rId7" Type="http://schemas.openxmlformats.org/officeDocument/2006/relationships/image" Target="../media/image3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C9B7F8-F06F-4E9B-95B5-B05974962BF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December 2023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662E55D-4D82-4AC6-B19F-54FFC4102C3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3422" y="1944305"/>
            <a:ext cx="4409826" cy="2594941"/>
          </a:xfrm>
        </p:spPr>
        <p:txBody>
          <a:bodyPr/>
          <a:lstStyle/>
          <a:p>
            <a:r>
              <a:rPr lang="en-US" dirty="0"/>
              <a:t>Conceptual Utilization Building Block Application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CE314915-6DA6-49E4-AC3D-A0BC07D7633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John Ristey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E25A3CA-BBCA-4111-8F80-F90EEDC44B3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Smart Connected Operations</a:t>
            </a:r>
          </a:p>
        </p:txBody>
      </p:sp>
    </p:spTree>
    <p:extLst>
      <p:ext uri="{BB962C8B-B14F-4D97-AF65-F5344CB8AC3E}">
        <p14:creationId xmlns:p14="http://schemas.microsoft.com/office/powerpoint/2010/main" val="792058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7A6C79-8FF0-9069-FD20-91EEFC6404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TILIZATION EVENT DETAIL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81A5CC2-09B0-3336-12B8-31ADE84BFF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87715" y="1213186"/>
            <a:ext cx="8616569" cy="5222419"/>
          </a:xfrm>
          <a:prstGeom prst="rect">
            <a:avLst/>
          </a:prstGeom>
        </p:spPr>
      </p:pic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8D23EB99-D9A4-1A4B-F21D-36B1CAB13044}"/>
              </a:ext>
            </a:extLst>
          </p:cNvPr>
          <p:cNvSpPr/>
          <p:nvPr/>
        </p:nvSpPr>
        <p:spPr>
          <a:xfrm>
            <a:off x="1024466" y="5000305"/>
            <a:ext cx="2625553" cy="128901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For an event of State “Downtime” with Reason “Unknown”, a new Reason Group, Reason and Comment can be saved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B4452DB8-0673-F67E-4B2F-82441C002ED9}"/>
              </a:ext>
            </a:extLst>
          </p:cNvPr>
          <p:cNvCxnSpPr/>
          <p:nvPr/>
        </p:nvCxnSpPr>
        <p:spPr>
          <a:xfrm flipV="1">
            <a:off x="3501139" y="5918580"/>
            <a:ext cx="1313047" cy="87154"/>
          </a:xfrm>
          <a:prstGeom prst="straightConnector1">
            <a:avLst/>
          </a:prstGeom>
          <a:ln w="85725"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3663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7A6C79-8FF0-9069-FD20-91EEFC6404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TILIZATION EVENT DETAIL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E82A888-FE4F-40BA-91F7-B8D277F48F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4492" y="1225447"/>
            <a:ext cx="8763016" cy="5302353"/>
          </a:xfrm>
          <a:prstGeom prst="rect">
            <a:avLst/>
          </a:prstGeom>
        </p:spPr>
      </p:pic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0A5BB619-26F0-DFD8-0F51-9689775B0F07}"/>
              </a:ext>
            </a:extLst>
          </p:cNvPr>
          <p:cNvSpPr/>
          <p:nvPr/>
        </p:nvSpPr>
        <p:spPr>
          <a:xfrm>
            <a:off x="1371599" y="5110371"/>
            <a:ext cx="2625553" cy="128901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For an event that does NOT have State “Downtime” with Reason “Unknown”, a Comment can be saved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21565B6A-6403-9CE9-3FFF-ADD455B42D13}"/>
              </a:ext>
            </a:extLst>
          </p:cNvPr>
          <p:cNvCxnSpPr/>
          <p:nvPr/>
        </p:nvCxnSpPr>
        <p:spPr>
          <a:xfrm flipV="1">
            <a:off x="3848272" y="6028646"/>
            <a:ext cx="1313047" cy="87154"/>
          </a:xfrm>
          <a:prstGeom prst="straightConnector1">
            <a:avLst/>
          </a:prstGeom>
          <a:ln w="85725"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4848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7A6C79-8FF0-9069-FD20-91EEFC6404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 SCREE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318C3F7-516F-A995-51B0-D48AC1FBB9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5885" y="1126637"/>
            <a:ext cx="11620229" cy="5302494"/>
          </a:xfrm>
          <a:prstGeom prst="rect">
            <a:avLst/>
          </a:prstGeom>
          <a:ln>
            <a:solidFill>
              <a:schemeClr val="accent1">
                <a:shade val="95000"/>
                <a:satMod val="105000"/>
              </a:schemeClr>
            </a:solidFill>
          </a:ln>
        </p:spPr>
      </p:pic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4F62FB0A-4D23-8203-A7E0-54C07B16268C}"/>
              </a:ext>
            </a:extLst>
          </p:cNvPr>
          <p:cNvSpPr/>
          <p:nvPr/>
        </p:nvSpPr>
        <p:spPr>
          <a:xfrm>
            <a:off x="4535931" y="2969129"/>
            <a:ext cx="2133600" cy="128901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You can also see event details by double clicking the event in the “Gantt”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4F32F24C-91DA-4DB9-6179-5A0BC5B6B473}"/>
              </a:ext>
            </a:extLst>
          </p:cNvPr>
          <p:cNvCxnSpPr>
            <a:cxnSpLocks/>
          </p:cNvCxnSpPr>
          <p:nvPr/>
        </p:nvCxnSpPr>
        <p:spPr>
          <a:xfrm flipV="1">
            <a:off x="6289431" y="2675175"/>
            <a:ext cx="1616242" cy="830545"/>
          </a:xfrm>
          <a:prstGeom prst="straightConnector1">
            <a:avLst/>
          </a:prstGeom>
          <a:ln w="85725"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AB279D0B-A400-9FDF-A96E-50752E3351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97289" y="1434233"/>
            <a:ext cx="7797422" cy="4745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4537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7A6C79-8FF0-9069-FD20-91EEFC6404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ecific Machin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1BE313C-29B4-2B39-CA76-6E4414954E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9820" y="1144221"/>
            <a:ext cx="11732360" cy="5282956"/>
          </a:xfrm>
          <a:prstGeom prst="rect">
            <a:avLst/>
          </a:prstGeom>
          <a:ln>
            <a:solidFill>
              <a:schemeClr val="accent1">
                <a:shade val="95000"/>
                <a:satMod val="105000"/>
              </a:schemeClr>
            </a:solidFill>
          </a:ln>
        </p:spPr>
      </p:pic>
      <p:sp>
        <p:nvSpPr>
          <p:cNvPr id="5" name="Rounded Rectangle 10">
            <a:extLst>
              <a:ext uri="{FF2B5EF4-FFF2-40B4-BE49-F238E27FC236}">
                <a16:creationId xmlns:a16="http://schemas.microsoft.com/office/drawing/2014/main" id="{66122674-175B-BFF6-67B2-4C0763AF1EB6}"/>
              </a:ext>
            </a:extLst>
          </p:cNvPr>
          <p:cNvSpPr/>
          <p:nvPr/>
        </p:nvSpPr>
        <p:spPr>
          <a:xfrm>
            <a:off x="9596156" y="1662432"/>
            <a:ext cx="2133600" cy="97671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Utilization gauge display (for selected time frame)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8CFAAF9D-0CDA-9871-142D-9049251F91A0}"/>
              </a:ext>
            </a:extLst>
          </p:cNvPr>
          <p:cNvCxnSpPr/>
          <p:nvPr/>
        </p:nvCxnSpPr>
        <p:spPr>
          <a:xfrm flipH="1" flipV="1">
            <a:off x="9078162" y="2179552"/>
            <a:ext cx="600908" cy="17800"/>
          </a:xfrm>
          <a:prstGeom prst="straightConnector1">
            <a:avLst/>
          </a:prstGeom>
          <a:ln w="85725"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ounded Rectangle 4">
            <a:extLst>
              <a:ext uri="{FF2B5EF4-FFF2-40B4-BE49-F238E27FC236}">
                <a16:creationId xmlns:a16="http://schemas.microsoft.com/office/drawing/2014/main" id="{07EBDB7F-EC7F-DEE2-21A7-E257E3DC1B18}"/>
              </a:ext>
            </a:extLst>
          </p:cNvPr>
          <p:cNvSpPr/>
          <p:nvPr/>
        </p:nvSpPr>
        <p:spPr>
          <a:xfrm>
            <a:off x="2744058" y="1035434"/>
            <a:ext cx="2133600" cy="64478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Drop down to switch machines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1E4C4B55-1A88-7783-49C8-F89280C457D1}"/>
              </a:ext>
            </a:extLst>
          </p:cNvPr>
          <p:cNvCxnSpPr/>
          <p:nvPr/>
        </p:nvCxnSpPr>
        <p:spPr>
          <a:xfrm flipH="1">
            <a:off x="1810155" y="1338719"/>
            <a:ext cx="1398751" cy="459561"/>
          </a:xfrm>
          <a:prstGeom prst="straightConnector1">
            <a:avLst/>
          </a:prstGeom>
          <a:ln w="85725"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6">
            <a:extLst>
              <a:ext uri="{FF2B5EF4-FFF2-40B4-BE49-F238E27FC236}">
                <a16:creationId xmlns:a16="http://schemas.microsoft.com/office/drawing/2014/main" id="{C7826DE4-911C-534B-7F4B-E554A4BB8B42}"/>
              </a:ext>
            </a:extLst>
          </p:cNvPr>
          <p:cNvSpPr/>
          <p:nvPr/>
        </p:nvSpPr>
        <p:spPr>
          <a:xfrm>
            <a:off x="626092" y="2811749"/>
            <a:ext cx="2133600" cy="101849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Date time pickers to change utilization record time frame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B70FF849-AF79-A172-EBF4-C23462BE912D}"/>
              </a:ext>
            </a:extLst>
          </p:cNvPr>
          <p:cNvCxnSpPr>
            <a:cxnSpLocks/>
          </p:cNvCxnSpPr>
          <p:nvPr/>
        </p:nvCxnSpPr>
        <p:spPr>
          <a:xfrm flipV="1">
            <a:off x="1805713" y="2376763"/>
            <a:ext cx="571823" cy="562060"/>
          </a:xfrm>
          <a:prstGeom prst="straightConnector1">
            <a:avLst/>
          </a:prstGeom>
          <a:ln w="85725"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ounded Rectangle 8">
            <a:extLst>
              <a:ext uri="{FF2B5EF4-FFF2-40B4-BE49-F238E27FC236}">
                <a16:creationId xmlns:a16="http://schemas.microsoft.com/office/drawing/2014/main" id="{7AC3B8FB-CF30-D3FB-3062-6BC134A4DF2C}"/>
              </a:ext>
            </a:extLst>
          </p:cNvPr>
          <p:cNvSpPr/>
          <p:nvPr/>
        </p:nvSpPr>
        <p:spPr>
          <a:xfrm>
            <a:off x="2089164" y="2210918"/>
            <a:ext cx="2133600" cy="89375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Display of current machine state data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8497B995-C2F7-BD13-2C4E-7D3451F67FF0}"/>
              </a:ext>
            </a:extLst>
          </p:cNvPr>
          <p:cNvCxnSpPr/>
          <p:nvPr/>
        </p:nvCxnSpPr>
        <p:spPr>
          <a:xfrm flipV="1">
            <a:off x="4058704" y="2545150"/>
            <a:ext cx="755710" cy="93779"/>
          </a:xfrm>
          <a:prstGeom prst="straightConnector1">
            <a:avLst/>
          </a:prstGeom>
          <a:ln w="85725"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5E55D765-4A47-2EBB-7DB9-A24052B967FB}"/>
              </a:ext>
            </a:extLst>
          </p:cNvPr>
          <p:cNvSpPr/>
          <p:nvPr/>
        </p:nvSpPr>
        <p:spPr>
          <a:xfrm>
            <a:off x="2109097" y="2805695"/>
            <a:ext cx="2133600" cy="128901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Grid of specific utilization events for selected time frame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4CDDA2E3-9E84-DF1E-7CA8-29E24CA645C3}"/>
              </a:ext>
            </a:extLst>
          </p:cNvPr>
          <p:cNvCxnSpPr/>
          <p:nvPr/>
        </p:nvCxnSpPr>
        <p:spPr>
          <a:xfrm>
            <a:off x="3600505" y="3888684"/>
            <a:ext cx="1324249" cy="101601"/>
          </a:xfrm>
          <a:prstGeom prst="straightConnector1">
            <a:avLst/>
          </a:prstGeom>
          <a:ln w="85725"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7FE56704-FC64-6A00-FB6E-7E2E37F7B155}"/>
              </a:ext>
            </a:extLst>
          </p:cNvPr>
          <p:cNvSpPr/>
          <p:nvPr/>
        </p:nvSpPr>
        <p:spPr>
          <a:xfrm>
            <a:off x="1121153" y="4882068"/>
            <a:ext cx="2309923" cy="880172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Gantt chart of utilization events for time frame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5AF343AF-B185-75E9-87B6-080F9BA5C59D}"/>
              </a:ext>
            </a:extLst>
          </p:cNvPr>
          <p:cNvCxnSpPr/>
          <p:nvPr/>
        </p:nvCxnSpPr>
        <p:spPr>
          <a:xfrm>
            <a:off x="3311568" y="5397829"/>
            <a:ext cx="1303168" cy="65436"/>
          </a:xfrm>
          <a:prstGeom prst="straightConnector1">
            <a:avLst/>
          </a:prstGeom>
          <a:ln w="85725"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2D902EE6-584D-FDA5-7F66-6D41820DBFDE}"/>
              </a:ext>
            </a:extLst>
          </p:cNvPr>
          <p:cNvSpPr/>
          <p:nvPr/>
        </p:nvSpPr>
        <p:spPr>
          <a:xfrm>
            <a:off x="5038648" y="3867907"/>
            <a:ext cx="2133600" cy="94344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Pie chart of aggregated utilization states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EB8573B6-A94D-2BCF-2D0C-8F91AC278F38}"/>
              </a:ext>
            </a:extLst>
          </p:cNvPr>
          <p:cNvCxnSpPr/>
          <p:nvPr/>
        </p:nvCxnSpPr>
        <p:spPr>
          <a:xfrm flipH="1">
            <a:off x="3963152" y="4515188"/>
            <a:ext cx="1111266" cy="261748"/>
          </a:xfrm>
          <a:prstGeom prst="straightConnector1">
            <a:avLst/>
          </a:prstGeom>
          <a:ln w="85725"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D90B0E57-2865-2F8A-06BF-E310B1DC1788}"/>
              </a:ext>
            </a:extLst>
          </p:cNvPr>
          <p:cNvSpPr/>
          <p:nvPr/>
        </p:nvSpPr>
        <p:spPr>
          <a:xfrm>
            <a:off x="7814569" y="2909064"/>
            <a:ext cx="2133600" cy="64723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Option to export grid records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7A35E9AE-B5C2-D664-4614-1CB807448859}"/>
              </a:ext>
            </a:extLst>
          </p:cNvPr>
          <p:cNvCxnSpPr>
            <a:cxnSpLocks/>
          </p:cNvCxnSpPr>
          <p:nvPr/>
        </p:nvCxnSpPr>
        <p:spPr>
          <a:xfrm flipV="1">
            <a:off x="9864303" y="3035475"/>
            <a:ext cx="1416377" cy="208414"/>
          </a:xfrm>
          <a:prstGeom prst="straightConnector1">
            <a:avLst/>
          </a:prstGeom>
          <a:ln w="85725"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917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7" grpId="0" animBg="1"/>
      <p:bldP spid="7" grpId="1" animBg="1"/>
      <p:bldP spid="9" grpId="0" animBg="1"/>
      <p:bldP spid="9" grpId="1" animBg="1"/>
      <p:bldP spid="11" grpId="0" animBg="1"/>
      <p:bldP spid="11" grpId="1" animBg="1"/>
      <p:bldP spid="13" grpId="0" animBg="1"/>
      <p:bldP spid="13" grpId="1" animBg="1"/>
      <p:bldP spid="15" grpId="0" animBg="1"/>
      <p:bldP spid="15" grpId="1" animBg="1"/>
      <p:bldP spid="17" grpId="0" animBg="1"/>
      <p:bldP spid="17" grpId="1" animBg="1"/>
      <p:bldP spid="19" grpId="0" animBg="1"/>
      <p:bldP spid="19" grpId="1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7A6C79-8FF0-9069-FD20-91EEFC6404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ECIFIC MACHIN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0ABDA06-2211-3C21-4B15-FEE88331B5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780" y="1218934"/>
            <a:ext cx="11248439" cy="5296165"/>
          </a:xfrm>
          <a:prstGeom prst="rect">
            <a:avLst/>
          </a:prstGeom>
          <a:ln>
            <a:solidFill>
              <a:schemeClr val="accent1">
                <a:shade val="95000"/>
                <a:satMod val="105000"/>
              </a:schemeClr>
            </a:solidFill>
          </a:ln>
        </p:spPr>
      </p:pic>
      <p:sp>
        <p:nvSpPr>
          <p:cNvPr id="7" name="Rounded Rectangle 5">
            <a:extLst>
              <a:ext uri="{FF2B5EF4-FFF2-40B4-BE49-F238E27FC236}">
                <a16:creationId xmlns:a16="http://schemas.microsoft.com/office/drawing/2014/main" id="{B242E255-7A6D-9798-2D4D-940A1FC18F78}"/>
              </a:ext>
            </a:extLst>
          </p:cNvPr>
          <p:cNvSpPr/>
          <p:nvPr/>
        </p:nvSpPr>
        <p:spPr>
          <a:xfrm>
            <a:off x="5029199" y="3308029"/>
            <a:ext cx="2133600" cy="780394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Double click pie piece to view state details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286F391D-2734-371C-D290-77A3D0B8FB32}"/>
              </a:ext>
            </a:extLst>
          </p:cNvPr>
          <p:cNvCxnSpPr>
            <a:cxnSpLocks/>
          </p:cNvCxnSpPr>
          <p:nvPr/>
        </p:nvCxnSpPr>
        <p:spPr>
          <a:xfrm flipH="1">
            <a:off x="4220308" y="3940375"/>
            <a:ext cx="1249557" cy="827866"/>
          </a:xfrm>
          <a:prstGeom prst="straightConnector1">
            <a:avLst/>
          </a:prstGeom>
          <a:ln w="85725"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0F81EAA9-B63D-33A3-6666-1C05891CDD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42321" y="1113287"/>
            <a:ext cx="7707356" cy="5169877"/>
          </a:xfrm>
          <a:prstGeom prst="rect">
            <a:avLst/>
          </a:prstGeom>
        </p:spPr>
      </p:pic>
      <p:sp>
        <p:nvSpPr>
          <p:cNvPr id="9" name="Rounded Rectangle 10">
            <a:extLst>
              <a:ext uri="{FF2B5EF4-FFF2-40B4-BE49-F238E27FC236}">
                <a16:creationId xmlns:a16="http://schemas.microsoft.com/office/drawing/2014/main" id="{72A824F0-811D-DF6C-1D43-B1682F061F7C}"/>
              </a:ext>
            </a:extLst>
          </p:cNvPr>
          <p:cNvSpPr/>
          <p:nvPr/>
        </p:nvSpPr>
        <p:spPr>
          <a:xfrm>
            <a:off x="48802" y="1887415"/>
            <a:ext cx="2133600" cy="114300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Same utilization state pop-up as before, just for a single machine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B604D5A3-DEDD-2CB6-12A0-D56A4F130941}"/>
              </a:ext>
            </a:extLst>
          </p:cNvPr>
          <p:cNvCxnSpPr>
            <a:cxnSpLocks/>
          </p:cNvCxnSpPr>
          <p:nvPr/>
        </p:nvCxnSpPr>
        <p:spPr>
          <a:xfrm>
            <a:off x="1999390" y="2800261"/>
            <a:ext cx="825255" cy="159816"/>
          </a:xfrm>
          <a:prstGeom prst="straightConnector1">
            <a:avLst/>
          </a:prstGeom>
          <a:ln w="85725"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4095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7A6C79-8FF0-9069-FD20-91EEFC6404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ECIFIC MACHIN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ED4D66-1386-79D8-0800-E2BBE3815D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2682" y="1158186"/>
            <a:ext cx="11466635" cy="5379334"/>
          </a:xfrm>
          <a:prstGeom prst="rect">
            <a:avLst/>
          </a:prstGeom>
          <a:ln>
            <a:solidFill>
              <a:schemeClr val="accent1">
                <a:shade val="95000"/>
                <a:satMod val="105000"/>
              </a:schemeClr>
            </a:solidFill>
          </a:ln>
        </p:spPr>
      </p:pic>
      <p:sp>
        <p:nvSpPr>
          <p:cNvPr id="9" name="Rounded Rectangle 5">
            <a:extLst>
              <a:ext uri="{FF2B5EF4-FFF2-40B4-BE49-F238E27FC236}">
                <a16:creationId xmlns:a16="http://schemas.microsoft.com/office/drawing/2014/main" id="{1E3E088F-6085-6093-75B9-1C67E485DA5A}"/>
              </a:ext>
            </a:extLst>
          </p:cNvPr>
          <p:cNvSpPr/>
          <p:nvPr/>
        </p:nvSpPr>
        <p:spPr>
          <a:xfrm>
            <a:off x="4692713" y="4475503"/>
            <a:ext cx="2133600" cy="780394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Double click grid or Gantt details to view event specific data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9E0A06F5-32CB-1051-6078-29D4F3710293}"/>
              </a:ext>
            </a:extLst>
          </p:cNvPr>
          <p:cNvCxnSpPr>
            <a:cxnSpLocks/>
          </p:cNvCxnSpPr>
          <p:nvPr/>
        </p:nvCxnSpPr>
        <p:spPr>
          <a:xfrm>
            <a:off x="6598256" y="4753708"/>
            <a:ext cx="1223938" cy="762000"/>
          </a:xfrm>
          <a:prstGeom prst="straightConnector1">
            <a:avLst/>
          </a:prstGeom>
          <a:ln w="85725"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7E1A59D-FB2E-6924-EAEA-D4D8A24248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45087" y="1602103"/>
            <a:ext cx="7701823" cy="4676915"/>
          </a:xfrm>
          <a:prstGeom prst="rect">
            <a:avLst/>
          </a:prstGeom>
        </p:spPr>
      </p:pic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D4E8357D-1A05-3695-E6C2-2C965B96C643}"/>
              </a:ext>
            </a:extLst>
          </p:cNvPr>
          <p:cNvSpPr/>
          <p:nvPr/>
        </p:nvSpPr>
        <p:spPr>
          <a:xfrm>
            <a:off x="111487" y="1491423"/>
            <a:ext cx="2133600" cy="193757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Same utilization event pop-up as before – ability to save comment and change reason if state is “Downtime” and reason is “Unknown”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09D633F0-5A95-9C00-08AB-A3638C508340}"/>
              </a:ext>
            </a:extLst>
          </p:cNvPr>
          <p:cNvCxnSpPr/>
          <p:nvPr/>
        </p:nvCxnSpPr>
        <p:spPr>
          <a:xfrm>
            <a:off x="2106261" y="2255836"/>
            <a:ext cx="913863" cy="97902"/>
          </a:xfrm>
          <a:prstGeom prst="straightConnector1">
            <a:avLst/>
          </a:prstGeom>
          <a:ln w="85725"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4205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7A6C79-8FF0-9069-FD20-91EEFC6404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MISS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2B75249-D538-477D-96FA-50A453881441}"/>
              </a:ext>
            </a:extLst>
          </p:cNvPr>
          <p:cNvSpPr txBox="1">
            <a:spLocks/>
          </p:cNvSpPr>
          <p:nvPr/>
        </p:nvSpPr>
        <p:spPr>
          <a:xfrm>
            <a:off x="1058047" y="1190883"/>
            <a:ext cx="4220123" cy="1551360"/>
          </a:xfrm>
          <a:prstGeom prst="rect">
            <a:avLst/>
          </a:prstGeom>
        </p:spPr>
        <p:txBody>
          <a:bodyPr/>
          <a:lstStyle>
            <a:lvl1pPr marL="342900" indent="-342900" algn="l" defTabSz="1086775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bg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0080" indent="-274320" algn="l" defTabSz="108677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Tx/>
              <a:buBlip>
                <a:blip r:embed="rId4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688" indent="-274320" algn="l" defTabSz="1290546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tx1"/>
              </a:buClr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720" indent="-228600" algn="l" defTabSz="1086775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tx1"/>
              </a:buClr>
              <a:buSzPct val="100000"/>
              <a:buFontTx/>
              <a:buBlip>
                <a:blip r:embed="rId6"/>
              </a:buBlip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17320" indent="-228600" algn="l" defTabSz="1086775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tx1"/>
              </a:buClr>
              <a:buFontTx/>
              <a:buBlip>
                <a:blip r:embed="rId5"/>
              </a:buBlip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88632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020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5408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8796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Users in the PTCDTS.Base.Permissions.Default_UG will see the following menu options: 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71514C1-B9D4-6D92-E24E-F02E549D0DF1}"/>
              </a:ext>
            </a:extLst>
          </p:cNvPr>
          <p:cNvSpPr txBox="1">
            <a:spLocks/>
          </p:cNvSpPr>
          <p:nvPr/>
        </p:nvSpPr>
        <p:spPr>
          <a:xfrm>
            <a:off x="6407137" y="1190883"/>
            <a:ext cx="4220123" cy="1761097"/>
          </a:xfrm>
          <a:prstGeom prst="rect">
            <a:avLst/>
          </a:prstGeom>
        </p:spPr>
        <p:txBody>
          <a:bodyPr/>
          <a:lstStyle>
            <a:lvl1pPr marL="342900" indent="-342900" algn="l" defTabSz="1086775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bg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0080" indent="-274320" algn="l" defTabSz="108677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Tx/>
              <a:buBlip>
                <a:blip r:embed="rId4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688" indent="-274320" algn="l" defTabSz="1290546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tx1"/>
              </a:buClr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720" indent="-228600" algn="l" defTabSz="1086775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tx1"/>
              </a:buClr>
              <a:buSzPct val="100000"/>
              <a:buFontTx/>
              <a:buBlip>
                <a:blip r:embed="rId6"/>
              </a:buBlip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17320" indent="-228600" algn="l" defTabSz="1086775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tx1"/>
              </a:buClr>
              <a:buFontTx/>
              <a:buBlip>
                <a:blip r:embed="rId5"/>
              </a:buBlip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88632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020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5408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8796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Users in the PTCDTS.Base.Permissions.ApplicationAdmin_UG will see the following menu options: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C05036B-E001-8556-F0EE-2C718353420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67817" y="3059723"/>
            <a:ext cx="2200582" cy="2257740"/>
          </a:xfrm>
          <a:prstGeom prst="rect">
            <a:avLst/>
          </a:prstGeom>
          <a:ln>
            <a:solidFill>
              <a:schemeClr val="accent1">
                <a:shade val="95000"/>
                <a:satMod val="105000"/>
              </a:schemeClr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F7F2BDC-675B-3A67-2B20-0C9C05AA1AC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50249" y="3054385"/>
            <a:ext cx="2133898" cy="3267531"/>
          </a:xfrm>
          <a:prstGeom prst="rect">
            <a:avLst/>
          </a:prstGeom>
          <a:ln>
            <a:solidFill>
              <a:schemeClr val="accent1">
                <a:shade val="95000"/>
                <a:satMod val="10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813929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C706C7-3F21-9DDA-588C-3BA9C63CA8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5327" y="2659559"/>
            <a:ext cx="8869680" cy="1538883"/>
          </a:xfrm>
        </p:spPr>
        <p:txBody>
          <a:bodyPr/>
          <a:lstStyle/>
          <a:p>
            <a:r>
              <a:rPr lang="en-US" dirty="0"/>
              <a:t>UTILIZATION Building Block Overview</a:t>
            </a:r>
          </a:p>
        </p:txBody>
      </p:sp>
    </p:spTree>
    <p:extLst>
      <p:ext uri="{BB962C8B-B14F-4D97-AF65-F5344CB8AC3E}">
        <p14:creationId xmlns:p14="http://schemas.microsoft.com/office/powerpoint/2010/main" val="471047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C69D2A5-01B0-4C86-8AD4-89E0F3AFF9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738664"/>
          </a:xfrm>
        </p:spPr>
        <p:txBody>
          <a:bodyPr/>
          <a:lstStyle/>
          <a:p>
            <a:r>
              <a:rPr lang="en-US" dirty="0"/>
              <a:t>Building Block Projects for Utilization Applic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9EDA75C-9DAB-4597-8214-F0E95FFFFF5E}"/>
              </a:ext>
            </a:extLst>
          </p:cNvPr>
          <p:cNvSpPr txBox="1"/>
          <p:nvPr/>
        </p:nvSpPr>
        <p:spPr>
          <a:xfrm>
            <a:off x="351171" y="1845045"/>
            <a:ext cx="3353564" cy="151247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>
            <a:solidFill>
              <a:schemeClr val="accent1"/>
            </a:solidFill>
          </a:ln>
        </p:spPr>
        <p:txBody>
          <a:bodyPr vert="horz"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US" sz="1800" b="1" dirty="0"/>
              <a:t>PTCSC.UtilizationUI  </a:t>
            </a:r>
          </a:p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US" sz="1800" b="1" dirty="0">
                <a:solidFill>
                  <a:srgbClr val="D12C3A"/>
                </a:solidFill>
              </a:rPr>
              <a:t>UI BLOCK</a:t>
            </a:r>
          </a:p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US" sz="1800" dirty="0"/>
              <a:t>Utilization UI components that call into the PTCSC.Utilization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34A1D90-F745-4C23-B2C7-A12843C6F25C}"/>
              </a:ext>
            </a:extLst>
          </p:cNvPr>
          <p:cNvSpPr txBox="1"/>
          <p:nvPr/>
        </p:nvSpPr>
        <p:spPr>
          <a:xfrm>
            <a:off x="4019769" y="2823861"/>
            <a:ext cx="3353564" cy="151247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>
            <a:solidFill>
              <a:schemeClr val="accent1"/>
            </a:solidFill>
          </a:ln>
        </p:spPr>
        <p:txBody>
          <a:bodyPr vert="horz"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US" sz="1800" b="1" dirty="0"/>
              <a:t>PTCSC.Utilization  </a:t>
            </a:r>
          </a:p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US" sz="1800" b="1" dirty="0">
                <a:solidFill>
                  <a:srgbClr val="D12C3A"/>
                </a:solidFill>
              </a:rPr>
              <a:t>ABSTRACT BLOCK</a:t>
            </a:r>
          </a:p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US" sz="1800" dirty="0"/>
              <a:t>Utilization logic, data shape and service definitions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8626EF7-2D83-4779-879C-3398ACC72E2C}"/>
              </a:ext>
            </a:extLst>
          </p:cNvPr>
          <p:cNvSpPr txBox="1"/>
          <p:nvPr/>
        </p:nvSpPr>
        <p:spPr>
          <a:xfrm>
            <a:off x="7688367" y="1845045"/>
            <a:ext cx="3353564" cy="151247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>
            <a:solidFill>
              <a:schemeClr val="accent1"/>
            </a:solidFill>
          </a:ln>
        </p:spPr>
        <p:txBody>
          <a:bodyPr vert="horz"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US" sz="1800" b="1" dirty="0"/>
              <a:t>PTCSC.UtilizationTWImpl  </a:t>
            </a:r>
          </a:p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US" sz="1800" b="1" dirty="0">
                <a:solidFill>
                  <a:srgbClr val="D12C3A"/>
                </a:solidFill>
              </a:rPr>
              <a:t>IMPL BLOCK</a:t>
            </a:r>
          </a:p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US" sz="1800" dirty="0"/>
              <a:t>Implementation of PTCSC.Utilization that uses ThingWorx data structur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335417C-8582-4B6C-A190-E3BB044564BA}"/>
              </a:ext>
            </a:extLst>
          </p:cNvPr>
          <p:cNvSpPr txBox="1"/>
          <p:nvPr/>
        </p:nvSpPr>
        <p:spPr>
          <a:xfrm>
            <a:off x="7688367" y="3656562"/>
            <a:ext cx="3353564" cy="151247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>
            <a:solidFill>
              <a:schemeClr val="accent1"/>
            </a:solidFill>
          </a:ln>
        </p:spPr>
        <p:txBody>
          <a:bodyPr vert="horz"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US" sz="1800" b="1" dirty="0"/>
              <a:t>PTCSC.UtilizationSQLImpl  </a:t>
            </a:r>
          </a:p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US" sz="1800" b="1" dirty="0">
                <a:solidFill>
                  <a:srgbClr val="D12C3A"/>
                </a:solidFill>
              </a:rPr>
              <a:t>IMPL BLOCK</a:t>
            </a:r>
          </a:p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US" sz="1800" dirty="0"/>
              <a:t>Implementation of PTCSC.Utilization that uses SQL data structur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03577A8-86BB-BF83-B74F-47FE62AE7F05}"/>
              </a:ext>
            </a:extLst>
          </p:cNvPr>
          <p:cNvSpPr txBox="1"/>
          <p:nvPr/>
        </p:nvSpPr>
        <p:spPr>
          <a:xfrm>
            <a:off x="351171" y="3656562"/>
            <a:ext cx="3353564" cy="151247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>
            <a:solidFill>
              <a:schemeClr val="accent1"/>
            </a:solidFill>
          </a:ln>
        </p:spPr>
        <p:txBody>
          <a:bodyPr vert="horz"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US" sz="1800" b="1" dirty="0"/>
              <a:t>PTCSC.UtilizationAdminUI  </a:t>
            </a:r>
          </a:p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US" sz="1800" b="1" dirty="0">
                <a:solidFill>
                  <a:srgbClr val="D12C3A"/>
                </a:solidFill>
              </a:rPr>
              <a:t>UI BLOCK</a:t>
            </a:r>
          </a:p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US" sz="1800" dirty="0"/>
              <a:t>Utilization UI administration user components that call into the PTCSC.Utilization </a:t>
            </a:r>
          </a:p>
        </p:txBody>
      </p:sp>
    </p:spTree>
    <p:extLst>
      <p:ext uri="{BB962C8B-B14F-4D97-AF65-F5344CB8AC3E}">
        <p14:creationId xmlns:p14="http://schemas.microsoft.com/office/powerpoint/2010/main" val="3731973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C69D2A5-01B0-4C86-8AD4-89E0F3AFF9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</p:spPr>
        <p:txBody>
          <a:bodyPr/>
          <a:lstStyle/>
          <a:p>
            <a:r>
              <a:rPr lang="en-US" dirty="0"/>
              <a:t>KEY PTCSC.Utilization ENTITIES and Not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9EDA75C-9DAB-4597-8214-F0E95FFFFF5E}"/>
              </a:ext>
            </a:extLst>
          </p:cNvPr>
          <p:cNvSpPr txBox="1"/>
          <p:nvPr/>
        </p:nvSpPr>
        <p:spPr>
          <a:xfrm>
            <a:off x="490760" y="1174169"/>
            <a:ext cx="4269776" cy="1757565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>
            <a:solidFill>
              <a:schemeClr val="accent1"/>
            </a:solidFill>
          </a:ln>
        </p:spPr>
        <p:txBody>
          <a:bodyPr vert="horz"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US" sz="1800" b="1" dirty="0"/>
              <a:t>PTCSC.Utilization.Management_TS</a:t>
            </a:r>
          </a:p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US" sz="1800" dirty="0"/>
              <a:t>Building Block services are defined here – name and parameters and configured to be overridde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5CB9019-D080-467D-924D-597B612B5706}"/>
              </a:ext>
            </a:extLst>
          </p:cNvPr>
          <p:cNvSpPr txBox="1"/>
          <p:nvPr/>
        </p:nvSpPr>
        <p:spPr>
          <a:xfrm>
            <a:off x="490760" y="3155622"/>
            <a:ext cx="11426668" cy="3252735"/>
          </a:xfrm>
          <a:prstGeom prst="rect">
            <a:avLst/>
          </a:prstGeom>
          <a:ln w="9525">
            <a:noFill/>
          </a:ln>
        </p:spPr>
        <p:txBody>
          <a:bodyPr vert="horz" wrap="non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US" sz="1800" b="1" u="sng" dirty="0"/>
              <a:t>Notes</a:t>
            </a:r>
            <a:r>
              <a:rPr lang="en-US" sz="1800" b="1" dirty="0"/>
              <a:t>:</a:t>
            </a:r>
          </a:p>
          <a:p>
            <a:pPr marL="342900" indent="-342900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US" sz="1400" dirty="0"/>
              <a:t>All required data shapes reside in this building block</a:t>
            </a:r>
          </a:p>
          <a:p>
            <a:pPr marL="342900" indent="-342900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US" sz="1400" dirty="0"/>
              <a:t>The ModelLogic Thing Shape services can:</a:t>
            </a:r>
          </a:p>
          <a:p>
            <a:pPr marL="886288" lvl="1" indent="-34290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US" sz="1400" dirty="0"/>
              <a:t>Look up the implemented block for the abstract manager:</a:t>
            </a:r>
          </a:p>
          <a:p>
            <a:pPr marL="886288" lvl="1" indent="-34290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rgbClr val="242424"/>
                </a:solidFill>
                <a:effectLst/>
                <a:latin typeface="-apple-system"/>
              </a:rPr>
              <a:t>let managerThing = </a:t>
            </a:r>
            <a:r>
              <a:rPr lang="en-US" sz="1400" dirty="0">
                <a:solidFill>
                  <a:srgbClr val="242424"/>
                </a:solidFill>
                <a:latin typeface="-apple-system"/>
              </a:rPr>
              <a:t>me</a:t>
            </a:r>
            <a:r>
              <a:rPr lang="en-US" sz="1400" b="0" i="0" dirty="0">
                <a:solidFill>
                  <a:srgbClr val="242424"/>
                </a:solidFill>
                <a:effectLst/>
                <a:latin typeface="-apple-system"/>
              </a:rPr>
              <a:t>.GetConfiguredManagerForIdentifier({</a:t>
            </a:r>
            <a:br>
              <a:rPr lang="en-US" sz="1400" dirty="0"/>
            </a:br>
            <a:r>
              <a:rPr lang="en-US" sz="1400" b="0" i="0" dirty="0">
                <a:solidFill>
                  <a:srgbClr val="242424"/>
                </a:solidFill>
                <a:effectLst/>
                <a:latin typeface="-apple-system"/>
              </a:rPr>
              <a:t>    identifier: "PTCSC.Utilization.Manager"</a:t>
            </a:r>
            <a:br>
              <a:rPr lang="en-US" sz="1400" dirty="0"/>
            </a:br>
            <a:r>
              <a:rPr lang="en-US" sz="1400" b="0" i="0" dirty="0">
                <a:solidFill>
                  <a:srgbClr val="242424"/>
                </a:solidFill>
                <a:effectLst/>
                <a:latin typeface="-apple-system"/>
              </a:rPr>
              <a:t>});</a:t>
            </a:r>
            <a:endParaRPr lang="en-US" sz="1800" dirty="0"/>
          </a:p>
          <a:p>
            <a:pPr marL="886288" lvl="1" indent="-34290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US" sz="1400" dirty="0"/>
              <a:t>And then reference that manager in the service calls on the shape</a:t>
            </a:r>
          </a:p>
          <a:p>
            <a:pPr marL="886288" lvl="1" indent="-34290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rgbClr val="242424"/>
                </a:solidFill>
                <a:effectLst/>
                <a:latin typeface="-apple-system"/>
              </a:rPr>
              <a:t>let result = Things[managerThing].GetElapsedTime();</a:t>
            </a:r>
            <a:endParaRPr lang="en-US" sz="1800" dirty="0"/>
          </a:p>
          <a:p>
            <a:pPr marL="886288" lvl="1" indent="-34290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US" sz="1400" dirty="0"/>
              <a:t>Properties in ModelLogic use PTCSC prefix</a:t>
            </a:r>
          </a:p>
          <a:p>
            <a:pPr marL="886288" lvl="1" indent="-34290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US" sz="1400" dirty="0"/>
              <a:t>Services in ModelLogic use something like “GetPTCSCElapsedTime”</a:t>
            </a:r>
          </a:p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B52F755-4E15-45DC-97E4-1815F644EE34}"/>
              </a:ext>
            </a:extLst>
          </p:cNvPr>
          <p:cNvSpPr txBox="1"/>
          <p:nvPr/>
        </p:nvSpPr>
        <p:spPr>
          <a:xfrm>
            <a:off x="4912936" y="1174170"/>
            <a:ext cx="4269776" cy="1757564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>
            <a:solidFill>
              <a:schemeClr val="accent1"/>
            </a:solidFill>
          </a:ln>
        </p:spPr>
        <p:txBody>
          <a:bodyPr vert="horz"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US" sz="1800" b="1" dirty="0"/>
              <a:t>PTCSC.Utilization.ModelLogic_TS</a:t>
            </a:r>
          </a:p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US" sz="1800" dirty="0"/>
              <a:t>Building Block required model properties and services to call into the data structures are defined here.  Services call into the configured implementation manager</a:t>
            </a:r>
          </a:p>
        </p:txBody>
      </p:sp>
    </p:spTree>
    <p:extLst>
      <p:ext uri="{BB962C8B-B14F-4D97-AF65-F5344CB8AC3E}">
        <p14:creationId xmlns:p14="http://schemas.microsoft.com/office/powerpoint/2010/main" val="2786135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260366-934D-7159-CFE5-2A7ACCCB5D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3349E4C-A228-148B-0E05-AB9F072EE48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59679" y="2450272"/>
            <a:ext cx="6641783" cy="1957459"/>
          </a:xfrm>
        </p:spPr>
        <p:txBody>
          <a:bodyPr/>
          <a:lstStyle/>
          <a:p>
            <a:r>
              <a:rPr lang="en-US" dirty="0"/>
              <a:t>Purpose</a:t>
            </a:r>
          </a:p>
          <a:p>
            <a:r>
              <a:rPr lang="en-US" dirty="0"/>
              <a:t>Application Functionality</a:t>
            </a:r>
          </a:p>
          <a:p>
            <a:r>
              <a:rPr lang="en-US" dirty="0"/>
              <a:t>Building Block Overview</a:t>
            </a:r>
          </a:p>
        </p:txBody>
      </p:sp>
    </p:spTree>
    <p:extLst>
      <p:ext uri="{BB962C8B-B14F-4D97-AF65-F5344CB8AC3E}">
        <p14:creationId xmlns:p14="http://schemas.microsoft.com/office/powerpoint/2010/main" val="1925682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9B62CF3-E8FD-42C3-892E-93552D195B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0760" y="1240801"/>
            <a:ext cx="10789920" cy="4572000"/>
          </a:xfrm>
        </p:spPr>
        <p:txBody>
          <a:bodyPr/>
          <a:lstStyle/>
          <a:p>
            <a:r>
              <a:rPr lang="en-US" dirty="0"/>
              <a:t>Create a template for the model entities (equipment that will use the application)</a:t>
            </a:r>
          </a:p>
          <a:p>
            <a:r>
              <a:rPr lang="en-US" dirty="0"/>
              <a:t>May need to use a RemoteThing template if you are mapping some tags in from Kepware</a:t>
            </a:r>
          </a:p>
          <a:p>
            <a:r>
              <a:rPr lang="en-US" dirty="0"/>
              <a:t>Apply these two thing shapes to the model template</a:t>
            </a:r>
          </a:p>
          <a:p>
            <a:pPr lvl="1"/>
            <a:r>
              <a:rPr lang="en-US" dirty="0"/>
              <a:t>PTCSC.Utilization.ModelLogic_TS</a:t>
            </a:r>
          </a:p>
          <a:p>
            <a:pPr lvl="1"/>
            <a:r>
              <a:rPr lang="en-US" dirty="0"/>
              <a:t>PTC.Base.ConfigManagement_TS</a:t>
            </a:r>
          </a:p>
          <a:p>
            <a:endParaRPr lang="en-US" dirty="0"/>
          </a:p>
          <a:p>
            <a:pPr lvl="1"/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5246340-EA8C-4976-803F-95C1239314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TILIZATION MODEL ENTITIES</a:t>
            </a:r>
          </a:p>
        </p:txBody>
      </p:sp>
    </p:spTree>
    <p:extLst>
      <p:ext uri="{BB962C8B-B14F-4D97-AF65-F5344CB8AC3E}">
        <p14:creationId xmlns:p14="http://schemas.microsoft.com/office/powerpoint/2010/main" val="3305622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C69D2A5-01B0-4C86-8AD4-89E0F3AFF9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</p:spPr>
        <p:txBody>
          <a:bodyPr/>
          <a:lstStyle/>
          <a:p>
            <a:r>
              <a:rPr lang="en-US" dirty="0"/>
              <a:t>KEY PTCSC.UtilizationTWIMPL ENTITIES and Not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9EDA75C-9DAB-4597-8214-F0E95FFFFF5E}"/>
              </a:ext>
            </a:extLst>
          </p:cNvPr>
          <p:cNvSpPr txBox="1"/>
          <p:nvPr/>
        </p:nvSpPr>
        <p:spPr>
          <a:xfrm>
            <a:off x="490759" y="1174169"/>
            <a:ext cx="4439459" cy="1757565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>
            <a:solidFill>
              <a:schemeClr val="accent1"/>
            </a:solidFill>
          </a:ln>
        </p:spPr>
        <p:txBody>
          <a:bodyPr vert="horz"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US" sz="1800" b="1" dirty="0"/>
              <a:t>PTCSC.UtilizationTWImpl.Manager_TT</a:t>
            </a:r>
          </a:p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US" sz="1800" dirty="0"/>
              <a:t>Code for the services inherited from the PTCSC.Utilization.Management_TS resides here.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5CB9019-D080-467D-924D-597B612B5706}"/>
              </a:ext>
            </a:extLst>
          </p:cNvPr>
          <p:cNvSpPr txBox="1"/>
          <p:nvPr/>
        </p:nvSpPr>
        <p:spPr>
          <a:xfrm>
            <a:off x="490760" y="3155622"/>
            <a:ext cx="8691952" cy="1664387"/>
          </a:xfrm>
          <a:prstGeom prst="rect">
            <a:avLst/>
          </a:prstGeom>
          <a:ln w="9525">
            <a:noFill/>
          </a:ln>
        </p:spPr>
        <p:txBody>
          <a:bodyPr vert="horz" wrap="non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US" sz="1800" b="1" u="sng" dirty="0"/>
              <a:t>Notes</a:t>
            </a:r>
            <a:r>
              <a:rPr lang="en-US" sz="1800" b="1" dirty="0"/>
              <a:t>:</a:t>
            </a:r>
          </a:p>
          <a:p>
            <a:pPr marL="342900" indent="-342900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US" sz="1800" dirty="0"/>
              <a:t>ThingWorx Data Objects</a:t>
            </a:r>
          </a:p>
          <a:p>
            <a:pPr marL="886288" lvl="1" indent="-34290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US" sz="1800" dirty="0"/>
              <a:t>PTCSC.UtilizationTWImpl.MachineCode_DT</a:t>
            </a:r>
          </a:p>
          <a:p>
            <a:pPr marL="886288" lvl="1" indent="-34290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US" sz="1800" dirty="0"/>
              <a:t>PTCSC.UtilizationTWImpl.Reason_DT</a:t>
            </a:r>
          </a:p>
          <a:p>
            <a:pPr marL="886288" lvl="1" indent="-34290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US" sz="1800" dirty="0"/>
              <a:t>PTCSC.UtilizationTWImpl.ReasonGroup_DT</a:t>
            </a:r>
          </a:p>
          <a:p>
            <a:pPr marL="886288" lvl="1" indent="-34290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US" sz="1800" dirty="0"/>
              <a:t>PTCSC.UtilizationTWImpl.UtilizationState_DT</a:t>
            </a:r>
          </a:p>
          <a:p>
            <a:pPr marL="886288" lvl="1" indent="-34290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US" sz="1800" dirty="0"/>
              <a:t>PTCSC.UtilizationTWImpl.Utilization_SM</a:t>
            </a:r>
          </a:p>
        </p:txBody>
      </p:sp>
    </p:spTree>
    <p:extLst>
      <p:ext uri="{BB962C8B-B14F-4D97-AF65-F5344CB8AC3E}">
        <p14:creationId xmlns:p14="http://schemas.microsoft.com/office/powerpoint/2010/main" val="170133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C69D2A5-01B0-4C86-8AD4-89E0F3AFF9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</p:spPr>
        <p:txBody>
          <a:bodyPr/>
          <a:lstStyle/>
          <a:p>
            <a:r>
              <a:rPr lang="en-US" dirty="0"/>
              <a:t>KEY PTCSC.UtilizationSQLIMPL ENTITIES and Not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9EDA75C-9DAB-4597-8214-F0E95FFFFF5E}"/>
              </a:ext>
            </a:extLst>
          </p:cNvPr>
          <p:cNvSpPr txBox="1"/>
          <p:nvPr/>
        </p:nvSpPr>
        <p:spPr>
          <a:xfrm>
            <a:off x="490759" y="1174169"/>
            <a:ext cx="4731689" cy="1757565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>
            <a:solidFill>
              <a:schemeClr val="accent1"/>
            </a:solidFill>
          </a:ln>
        </p:spPr>
        <p:txBody>
          <a:bodyPr vert="horz"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US" sz="1800" b="1" dirty="0"/>
              <a:t>PTCSC.UtilizationSQLImpl.Manager_TT</a:t>
            </a:r>
          </a:p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US" sz="1800" dirty="0"/>
              <a:t>Code for the services inherited from the PTCSC.Utilization.Management_TS resides here. These services will call into the PTCSC.UtilizationSQLImpl.Database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5CB9019-D080-467D-924D-597B612B5706}"/>
              </a:ext>
            </a:extLst>
          </p:cNvPr>
          <p:cNvSpPr txBox="1"/>
          <p:nvPr/>
        </p:nvSpPr>
        <p:spPr>
          <a:xfrm>
            <a:off x="490760" y="3155622"/>
            <a:ext cx="10010700" cy="1664387"/>
          </a:xfrm>
          <a:prstGeom prst="rect">
            <a:avLst/>
          </a:prstGeom>
          <a:ln w="9525">
            <a:noFill/>
          </a:ln>
        </p:spPr>
        <p:txBody>
          <a:bodyPr vert="horz"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US" sz="1800" b="1" u="sng" dirty="0"/>
              <a:t>Notes</a:t>
            </a:r>
            <a:r>
              <a:rPr lang="en-US" sz="1800" b="1" dirty="0"/>
              <a:t>:</a:t>
            </a:r>
          </a:p>
          <a:p>
            <a:pPr marL="342900" indent="-342900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US" sz="1800" dirty="0"/>
              <a:t>The PTCSC.UtilizationSQLImpl.Database thing inherits up the chain from the generic SQLThing thing template</a:t>
            </a:r>
          </a:p>
          <a:p>
            <a:pPr marL="342900" indent="-342900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US" sz="1800" dirty="0"/>
              <a:t>A SQLThing uses an existing persistence provider and allows a database connection to be shared across thing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D9552A2-3655-4970-B60A-A3E3B645832A}"/>
              </a:ext>
            </a:extLst>
          </p:cNvPr>
          <p:cNvSpPr txBox="1"/>
          <p:nvPr/>
        </p:nvSpPr>
        <p:spPr>
          <a:xfrm>
            <a:off x="5516816" y="1174169"/>
            <a:ext cx="4984644" cy="1757565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>
            <a:solidFill>
              <a:schemeClr val="accent1"/>
            </a:solidFill>
          </a:ln>
        </p:spPr>
        <p:txBody>
          <a:bodyPr vert="horz"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US" sz="1800" b="1" dirty="0"/>
              <a:t>PTCSC.UtilizationSQLImpl.SQLDatabase_TT</a:t>
            </a:r>
          </a:p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US" sz="1800" dirty="0"/>
              <a:t>Code for the services that make calls directly into the database reside on this template.</a:t>
            </a:r>
          </a:p>
        </p:txBody>
      </p:sp>
    </p:spTree>
    <p:extLst>
      <p:ext uri="{BB962C8B-B14F-4D97-AF65-F5344CB8AC3E}">
        <p14:creationId xmlns:p14="http://schemas.microsoft.com/office/powerpoint/2010/main" val="153199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9B62CF3-E8FD-42C3-892E-93552D195B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0760" y="1240801"/>
            <a:ext cx="10789920" cy="4572000"/>
          </a:xfrm>
        </p:spPr>
        <p:txBody>
          <a:bodyPr/>
          <a:lstStyle/>
          <a:p>
            <a:r>
              <a:rPr lang="en-US" dirty="0"/>
              <a:t>PTCSC.UtilizationUI is the main UI building block and contains all of the application screens</a:t>
            </a:r>
          </a:p>
          <a:p>
            <a:r>
              <a:rPr lang="en-US" dirty="0"/>
              <a:t>PTCSC.UtilizationAdminUI is super simple UI building block that only allows admin users to access the administration utilization screens</a:t>
            </a:r>
          </a:p>
          <a:p>
            <a:pPr lvl="1"/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5246340-EA8C-4976-803F-95C1239314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TILIZATION UI BUILDING BLOCK NOTES</a:t>
            </a:r>
          </a:p>
        </p:txBody>
      </p:sp>
    </p:spTree>
    <p:extLst>
      <p:ext uri="{BB962C8B-B14F-4D97-AF65-F5344CB8AC3E}">
        <p14:creationId xmlns:p14="http://schemas.microsoft.com/office/powerpoint/2010/main" val="298864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70245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A69EDC0-3C65-40B5-B8A9-6EF8B4FD01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quipment state tracking is a common use case in Manufacturing</a:t>
            </a:r>
          </a:p>
          <a:p>
            <a:r>
              <a:rPr lang="en-US" dirty="0"/>
              <a:t>The conceptual Utilization application provides a simple application that uses the ThingWorx platform and the building block design pattern</a:t>
            </a:r>
          </a:p>
          <a:p>
            <a:r>
              <a:rPr lang="en-US" dirty="0"/>
              <a:t>There are two different deployment paths (ThingWorx data objects and SQL data objects) for the Utilization application that allow for the explanation of abstract / implementation concepts</a:t>
            </a:r>
          </a:p>
          <a:p>
            <a:r>
              <a:rPr lang="en-US" dirty="0"/>
              <a:t>This example is meant for learning and not production deployment as PTC has more robust solutions for state tracking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9B2AEBE-D674-4C81-8E2E-5D33826996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RPOSE</a:t>
            </a:r>
          </a:p>
        </p:txBody>
      </p:sp>
    </p:spTree>
    <p:extLst>
      <p:ext uri="{BB962C8B-B14F-4D97-AF65-F5344CB8AC3E}">
        <p14:creationId xmlns:p14="http://schemas.microsoft.com/office/powerpoint/2010/main" val="2494607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C706C7-3F21-9DDA-588C-3BA9C63CA8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5327" y="2659559"/>
            <a:ext cx="8869680" cy="1538883"/>
          </a:xfrm>
        </p:spPr>
        <p:txBody>
          <a:bodyPr/>
          <a:lstStyle/>
          <a:p>
            <a:r>
              <a:rPr lang="en-US" dirty="0"/>
              <a:t>APPLICATION Functionality Overview</a:t>
            </a:r>
          </a:p>
        </p:txBody>
      </p:sp>
    </p:spTree>
    <p:extLst>
      <p:ext uri="{BB962C8B-B14F-4D97-AF65-F5344CB8AC3E}">
        <p14:creationId xmlns:p14="http://schemas.microsoft.com/office/powerpoint/2010/main" val="980114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8434A1-E083-6BFB-E2D5-DD6B9F59CE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TILIZATION Administra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5A0A73A-7AB3-A3B4-6D33-C6469304EB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3333" y="1131754"/>
            <a:ext cx="11345333" cy="530524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D286A035-2883-89FC-787A-D9A73EAAA178}"/>
              </a:ext>
            </a:extLst>
          </p:cNvPr>
          <p:cNvCxnSpPr>
            <a:cxnSpLocks/>
          </p:cNvCxnSpPr>
          <p:nvPr/>
        </p:nvCxnSpPr>
        <p:spPr>
          <a:xfrm flipH="1">
            <a:off x="3657047" y="4605351"/>
            <a:ext cx="1085126" cy="391588"/>
          </a:xfrm>
          <a:prstGeom prst="straightConnector1">
            <a:avLst/>
          </a:prstGeom>
          <a:ln w="85725"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ounded Rectangle 4">
            <a:extLst>
              <a:ext uri="{FF2B5EF4-FFF2-40B4-BE49-F238E27FC236}">
                <a16:creationId xmlns:a16="http://schemas.microsoft.com/office/drawing/2014/main" id="{29E5C5F6-45B2-9002-2D88-39BF65C4C0D6}"/>
              </a:ext>
            </a:extLst>
          </p:cNvPr>
          <p:cNvSpPr/>
          <p:nvPr/>
        </p:nvSpPr>
        <p:spPr>
          <a:xfrm>
            <a:off x="4464416" y="2553245"/>
            <a:ext cx="2133600" cy="274320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Add, edit and delete required utilization states.  You can indicate whether the state is included in the utilization calculation and, if so, whether it is counted as utilization.</a:t>
            </a:r>
          </a:p>
        </p:txBody>
      </p:sp>
      <p:sp>
        <p:nvSpPr>
          <p:cNvPr id="11" name="Rounded Rectangle 6">
            <a:extLst>
              <a:ext uri="{FF2B5EF4-FFF2-40B4-BE49-F238E27FC236}">
                <a16:creationId xmlns:a16="http://schemas.microsoft.com/office/drawing/2014/main" id="{EA1C38FE-CB33-5EE2-AEDD-279645924587}"/>
              </a:ext>
            </a:extLst>
          </p:cNvPr>
          <p:cNvSpPr/>
          <p:nvPr/>
        </p:nvSpPr>
        <p:spPr>
          <a:xfrm>
            <a:off x="2155101" y="2553245"/>
            <a:ext cx="2133600" cy="205740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Reason groups are simply a hierarchical method to manage reasons.  You can add, edit and delete reason groups.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8F4F70D6-3E18-197D-47DD-61E4F44577E5}"/>
              </a:ext>
            </a:extLst>
          </p:cNvPr>
          <p:cNvCxnSpPr>
            <a:cxnSpLocks/>
          </p:cNvCxnSpPr>
          <p:nvPr/>
        </p:nvCxnSpPr>
        <p:spPr>
          <a:xfrm>
            <a:off x="3809055" y="4162706"/>
            <a:ext cx="1273309" cy="496627"/>
          </a:xfrm>
          <a:prstGeom prst="straightConnector1">
            <a:avLst/>
          </a:prstGeom>
          <a:ln w="85725"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D5081BF-0B68-F51F-39F1-FB125487495A}"/>
              </a:ext>
            </a:extLst>
          </p:cNvPr>
          <p:cNvCxnSpPr>
            <a:cxnSpLocks/>
          </p:cNvCxnSpPr>
          <p:nvPr/>
        </p:nvCxnSpPr>
        <p:spPr>
          <a:xfrm>
            <a:off x="7811415" y="4541568"/>
            <a:ext cx="1033482" cy="235531"/>
          </a:xfrm>
          <a:prstGeom prst="straightConnector1">
            <a:avLst/>
          </a:prstGeom>
          <a:ln w="85725"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ounded Rectangle 10">
            <a:extLst>
              <a:ext uri="{FF2B5EF4-FFF2-40B4-BE49-F238E27FC236}">
                <a16:creationId xmlns:a16="http://schemas.microsoft.com/office/drawing/2014/main" id="{5256F6CE-8F29-AE28-004B-1799BC6B018B}"/>
              </a:ext>
            </a:extLst>
          </p:cNvPr>
          <p:cNvSpPr/>
          <p:nvPr/>
        </p:nvSpPr>
        <p:spPr>
          <a:xfrm>
            <a:off x="5804353" y="2553245"/>
            <a:ext cx="2133600" cy="2666171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Reasons are the details behind the state.  They must be tied to both a state and a reason group.  A reason can be identified as a failure in order to calculate MTBF at a later time.  You can add, edit and delete reasons.</a:t>
            </a:r>
          </a:p>
        </p:txBody>
      </p:sp>
    </p:spTree>
    <p:extLst>
      <p:ext uri="{BB962C8B-B14F-4D97-AF65-F5344CB8AC3E}">
        <p14:creationId xmlns:p14="http://schemas.microsoft.com/office/powerpoint/2010/main" val="2489103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0" grpId="1" animBg="1"/>
      <p:bldP spid="11" grpId="0" animBg="1"/>
      <p:bldP spid="11" grpId="1" animBg="1"/>
      <p:bldP spid="14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4EE2D8F-9372-6A82-7A9A-06D527E516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0034" y="1047506"/>
            <a:ext cx="11599150" cy="5453011"/>
          </a:xfrm>
          <a:prstGeom prst="rect">
            <a:avLst/>
          </a:prstGeom>
          <a:ln>
            <a:solidFill>
              <a:schemeClr val="accent1">
                <a:shade val="95000"/>
                <a:satMod val="105000"/>
              </a:schemeClr>
            </a:solidFill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27A6C79-8FF0-9069-FD20-91EEFC6404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TILIZATION Administration</a:t>
            </a: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2E2B444D-C600-0D3D-876E-67086CA0A93B}"/>
              </a:ext>
            </a:extLst>
          </p:cNvPr>
          <p:cNvSpPr/>
          <p:nvPr/>
        </p:nvSpPr>
        <p:spPr>
          <a:xfrm>
            <a:off x="913565" y="3502500"/>
            <a:ext cx="2133600" cy="274320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If a machine code integer exists to drive utilization state and reason code, you can select the machine and enable that property.  You can also enable / disable simulation data.</a:t>
            </a:r>
          </a:p>
        </p:txBody>
      </p:sp>
      <p:sp>
        <p:nvSpPr>
          <p:cNvPr id="6" name="Rounded Rectangle 6">
            <a:extLst>
              <a:ext uri="{FF2B5EF4-FFF2-40B4-BE49-F238E27FC236}">
                <a16:creationId xmlns:a16="http://schemas.microsoft.com/office/drawing/2014/main" id="{B3EBFF3E-8544-09FC-B188-76F9C824D9A2}"/>
              </a:ext>
            </a:extLst>
          </p:cNvPr>
          <p:cNvSpPr/>
          <p:nvPr/>
        </p:nvSpPr>
        <p:spPr>
          <a:xfrm>
            <a:off x="6558193" y="5062718"/>
            <a:ext cx="2133600" cy="111710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Machine codes can be added and edited for a specific machine</a:t>
            </a:r>
          </a:p>
        </p:txBody>
      </p:sp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82B34512-0AEF-BADC-86A9-3D04EE232505}"/>
              </a:ext>
            </a:extLst>
          </p:cNvPr>
          <p:cNvSpPr/>
          <p:nvPr/>
        </p:nvSpPr>
        <p:spPr>
          <a:xfrm>
            <a:off x="490760" y="1458583"/>
            <a:ext cx="2462948" cy="231542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A table can be configured to match machine codes with reasons.  When the machine code changes, the state and reason code data will be looked up and the state will change</a:t>
            </a:r>
          </a:p>
        </p:txBody>
      </p:sp>
    </p:spTree>
    <p:extLst>
      <p:ext uri="{BB962C8B-B14F-4D97-AF65-F5344CB8AC3E}">
        <p14:creationId xmlns:p14="http://schemas.microsoft.com/office/powerpoint/2010/main" val="4141296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  <p:bldP spid="6" grpId="0" animBg="1"/>
      <p:bldP spid="7" grpId="0" animBg="1"/>
      <p:bldP spid="7" grpId="1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7A6C79-8FF0-9069-FD20-91EEFC6404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TILIZATION OVERVIEW SCREE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F811B86-352D-E8BB-5CCC-113A4532FF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3151" y="1132964"/>
            <a:ext cx="11805698" cy="5284928"/>
          </a:xfrm>
          <a:prstGeom prst="rect">
            <a:avLst/>
          </a:prstGeom>
          <a:ln>
            <a:solidFill>
              <a:schemeClr val="accent1">
                <a:shade val="95000"/>
                <a:satMod val="105000"/>
              </a:schemeClr>
            </a:solidFill>
          </a:ln>
        </p:spPr>
      </p:pic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7DFE6AC6-2EDE-8D23-3E1C-FBDD14A8ED2A}"/>
              </a:ext>
            </a:extLst>
          </p:cNvPr>
          <p:cNvSpPr/>
          <p:nvPr/>
        </p:nvSpPr>
        <p:spPr>
          <a:xfrm>
            <a:off x="2589115" y="2191939"/>
            <a:ext cx="2133600" cy="2743201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The overview screen aggregates utilization state data for all machines and displays a “Gantt” and utilization calculation for each machine for the selected timeframe.</a:t>
            </a:r>
          </a:p>
        </p:txBody>
      </p:sp>
      <p:sp>
        <p:nvSpPr>
          <p:cNvPr id="6" name="Rounded Rectangle 6">
            <a:extLst>
              <a:ext uri="{FF2B5EF4-FFF2-40B4-BE49-F238E27FC236}">
                <a16:creationId xmlns:a16="http://schemas.microsoft.com/office/drawing/2014/main" id="{BEB66A47-033C-FFAC-5249-8EE26C119D99}"/>
              </a:ext>
            </a:extLst>
          </p:cNvPr>
          <p:cNvSpPr/>
          <p:nvPr/>
        </p:nvSpPr>
        <p:spPr>
          <a:xfrm>
            <a:off x="3962400" y="329440"/>
            <a:ext cx="2133600" cy="106680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Adjust time frame to zoom in or out of selected data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0B6DB8D3-D84A-256F-75E5-21D38AF07E68}"/>
              </a:ext>
            </a:extLst>
          </p:cNvPr>
          <p:cNvCxnSpPr/>
          <p:nvPr/>
        </p:nvCxnSpPr>
        <p:spPr>
          <a:xfrm>
            <a:off x="5885720" y="1244034"/>
            <a:ext cx="457200" cy="423672"/>
          </a:xfrm>
          <a:prstGeom prst="straightConnector1">
            <a:avLst/>
          </a:prstGeom>
          <a:ln w="85725"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9074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  <p:bldP spid="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7A6C79-8FF0-9069-FD20-91EEFC6404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TILIZATION OVERVIEW SCREE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F811B86-352D-E8BB-5CCC-113A4532FF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3151" y="1132964"/>
            <a:ext cx="11805698" cy="5284928"/>
          </a:xfrm>
          <a:prstGeom prst="rect">
            <a:avLst/>
          </a:prstGeom>
          <a:ln>
            <a:solidFill>
              <a:schemeClr val="accent1">
                <a:shade val="95000"/>
                <a:satMod val="105000"/>
              </a:schemeClr>
            </a:solidFill>
          </a:ln>
        </p:spPr>
      </p:pic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7DFE6AC6-2EDE-8D23-3E1C-FBDD14A8ED2A}"/>
              </a:ext>
            </a:extLst>
          </p:cNvPr>
          <p:cNvSpPr/>
          <p:nvPr/>
        </p:nvSpPr>
        <p:spPr>
          <a:xfrm>
            <a:off x="2148848" y="3657600"/>
            <a:ext cx="2133600" cy="159080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Double-click a utilization state to bring up details on the selected state events.</a:t>
            </a:r>
          </a:p>
        </p:txBody>
      </p:sp>
    </p:spTree>
    <p:extLst>
      <p:ext uri="{BB962C8B-B14F-4D97-AF65-F5344CB8AC3E}">
        <p14:creationId xmlns:p14="http://schemas.microsoft.com/office/powerpoint/2010/main" val="3243661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7A6C79-8FF0-9069-FD20-91EEFC6404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TILIZATION EVENTS FOR SELECTED STAT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1273392-D36E-BFD2-A4CC-2863DAACBF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7172" y="1138446"/>
            <a:ext cx="8077656" cy="5433818"/>
          </a:xfrm>
          <a:prstGeom prst="rect">
            <a:avLst/>
          </a:prstGeom>
        </p:spPr>
      </p:pic>
      <p:sp>
        <p:nvSpPr>
          <p:cNvPr id="5" name="Rounded Rectangle 6">
            <a:extLst>
              <a:ext uri="{FF2B5EF4-FFF2-40B4-BE49-F238E27FC236}">
                <a16:creationId xmlns:a16="http://schemas.microsoft.com/office/drawing/2014/main" id="{05993033-705F-DE84-F8EF-E4D5BC99CCDE}"/>
              </a:ext>
            </a:extLst>
          </p:cNvPr>
          <p:cNvSpPr/>
          <p:nvPr/>
        </p:nvSpPr>
        <p:spPr>
          <a:xfrm>
            <a:off x="3187923" y="2362314"/>
            <a:ext cx="2133600" cy="160020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Reason summary aggregates by reason.  Hover over bar for reason and percentage of state.</a:t>
            </a:r>
          </a:p>
        </p:txBody>
      </p:sp>
      <p:sp>
        <p:nvSpPr>
          <p:cNvPr id="6" name="Rounded Rectangle 7">
            <a:extLst>
              <a:ext uri="{FF2B5EF4-FFF2-40B4-BE49-F238E27FC236}">
                <a16:creationId xmlns:a16="http://schemas.microsoft.com/office/drawing/2014/main" id="{CF996D1B-BDE4-C4F3-35E9-516354576452}"/>
              </a:ext>
            </a:extLst>
          </p:cNvPr>
          <p:cNvSpPr/>
          <p:nvPr/>
        </p:nvSpPr>
        <p:spPr>
          <a:xfrm>
            <a:off x="6661375" y="4709005"/>
            <a:ext cx="2133600" cy="106680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Aggregate COUNT, AVERAGE and SUM data for the selected state.</a:t>
            </a:r>
          </a:p>
        </p:txBody>
      </p:sp>
      <p:sp>
        <p:nvSpPr>
          <p:cNvPr id="7" name="Rounded Rectangle 8">
            <a:extLst>
              <a:ext uri="{FF2B5EF4-FFF2-40B4-BE49-F238E27FC236}">
                <a16:creationId xmlns:a16="http://schemas.microsoft.com/office/drawing/2014/main" id="{40DED120-C81C-617E-DB3B-3F60F785D934}"/>
              </a:ext>
            </a:extLst>
          </p:cNvPr>
          <p:cNvSpPr/>
          <p:nvPr/>
        </p:nvSpPr>
        <p:spPr>
          <a:xfrm>
            <a:off x="4131145" y="514106"/>
            <a:ext cx="2133600" cy="106680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Specific utilization event data is available for the state.</a:t>
            </a:r>
          </a:p>
        </p:txBody>
      </p:sp>
      <p:sp>
        <p:nvSpPr>
          <p:cNvPr id="8" name="Rounded Rectangle 9">
            <a:extLst>
              <a:ext uri="{FF2B5EF4-FFF2-40B4-BE49-F238E27FC236}">
                <a16:creationId xmlns:a16="http://schemas.microsoft.com/office/drawing/2014/main" id="{5C3BA2B6-7B02-E51B-D85E-ACB1CE650C1B}"/>
              </a:ext>
            </a:extLst>
          </p:cNvPr>
          <p:cNvSpPr/>
          <p:nvPr/>
        </p:nvSpPr>
        <p:spPr>
          <a:xfrm>
            <a:off x="5843337" y="1706862"/>
            <a:ext cx="2133600" cy="761171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Grid data available for export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75D79175-8867-DDF1-52D7-36FF86C68AFA}"/>
              </a:ext>
            </a:extLst>
          </p:cNvPr>
          <p:cNvCxnSpPr/>
          <p:nvPr/>
        </p:nvCxnSpPr>
        <p:spPr>
          <a:xfrm flipV="1">
            <a:off x="7828916" y="1483366"/>
            <a:ext cx="844517" cy="732112"/>
          </a:xfrm>
          <a:prstGeom prst="straightConnector1">
            <a:avLst/>
          </a:prstGeom>
          <a:ln w="85725"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ounded Rectangle 13">
            <a:extLst>
              <a:ext uri="{FF2B5EF4-FFF2-40B4-BE49-F238E27FC236}">
                <a16:creationId xmlns:a16="http://schemas.microsoft.com/office/drawing/2014/main" id="{D6C6FB1C-FC3B-9BBE-6353-43BA4D103BB3}"/>
              </a:ext>
            </a:extLst>
          </p:cNvPr>
          <p:cNvSpPr/>
          <p:nvPr/>
        </p:nvSpPr>
        <p:spPr>
          <a:xfrm>
            <a:off x="6727223" y="3348356"/>
            <a:ext cx="2001905" cy="761171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Double click an event record to pop-up details</a:t>
            </a:r>
          </a:p>
        </p:txBody>
      </p:sp>
    </p:spTree>
    <p:extLst>
      <p:ext uri="{BB962C8B-B14F-4D97-AF65-F5344CB8AC3E}">
        <p14:creationId xmlns:p14="http://schemas.microsoft.com/office/powerpoint/2010/main" val="3032087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  <p:bldP spid="6" grpId="0" animBg="1"/>
      <p:bldP spid="6" grpId="1" animBg="1"/>
      <p:bldP spid="7" grpId="0" animBg="1"/>
      <p:bldP spid="7" grpId="1" animBg="1"/>
      <p:bldP spid="8" grpId="0" animBg="1"/>
      <p:bldP spid="8" grpId="1" animBg="1"/>
      <p:bldP spid="10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heme/theme1.xml><?xml version="1.0" encoding="utf-8"?>
<a:theme xmlns:a="http://schemas.openxmlformats.org/drawingml/2006/main" name="PTC PowerPoint Template">
  <a:themeElements>
    <a:clrScheme name="Feb 2">
      <a:dk1>
        <a:srgbClr val="3D4647"/>
      </a:dk1>
      <a:lt1>
        <a:srgbClr val="FFFFFF"/>
      </a:lt1>
      <a:dk2>
        <a:srgbClr val="C8C9C7"/>
      </a:dk2>
      <a:lt2>
        <a:srgbClr val="6CC04A"/>
      </a:lt2>
      <a:accent1>
        <a:srgbClr val="40AA1D"/>
      </a:accent1>
      <a:accent2>
        <a:srgbClr val="617480"/>
      </a:accent2>
      <a:accent3>
        <a:srgbClr val="26481F"/>
      </a:accent3>
      <a:accent4>
        <a:srgbClr val="197BC0"/>
      </a:accent4>
      <a:accent5>
        <a:srgbClr val="EB6D00"/>
      </a:accent5>
      <a:accent6>
        <a:srgbClr val="1D496E"/>
      </a:accent6>
      <a:hlink>
        <a:srgbClr val="197BC0"/>
      </a:hlink>
      <a:folHlink>
        <a:srgbClr val="197BC0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bg2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9525">
          <a:noFill/>
        </a:ln>
      </a:spPr>
      <a:bodyPr vert="horz" wrap="square" lIns="45720" tIns="45720" rIns="45720" bIns="45720" rtlCol="0"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22.pptx" id="{1E68E7E2-B6C0-46A1-B54D-5A6C668C327B}" vid="{735B8A15-550A-45F5-8CCF-27E621F3D67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762</TotalTime>
  <Words>1126</Words>
  <Application>Microsoft Office PowerPoint</Application>
  <PresentationFormat>Widescreen</PresentationFormat>
  <Paragraphs>116</Paragraphs>
  <Slides>2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0" baseType="lpstr">
      <vt:lpstr>PTCRaleway</vt:lpstr>
      <vt:lpstr>PTCRaleway Black</vt:lpstr>
      <vt:lpstr>-apple-system</vt:lpstr>
      <vt:lpstr>Arial</vt:lpstr>
      <vt:lpstr>PTC PowerPoint Template</vt:lpstr>
      <vt:lpstr>think-cell Slide</vt:lpstr>
      <vt:lpstr>Conceptual Utilization Building Block Application</vt:lpstr>
      <vt:lpstr>Agenda</vt:lpstr>
      <vt:lpstr>PURPOSE</vt:lpstr>
      <vt:lpstr>APPLICATION Functionality Overview</vt:lpstr>
      <vt:lpstr>UTILIZATION Administration</vt:lpstr>
      <vt:lpstr>UTILIZATION Administration</vt:lpstr>
      <vt:lpstr>UTILIZATION OVERVIEW SCREEN</vt:lpstr>
      <vt:lpstr>UTILIZATION OVERVIEW SCREEN</vt:lpstr>
      <vt:lpstr>UTILIZATION EVENTS FOR SELECTED STATE</vt:lpstr>
      <vt:lpstr>UTILIZATION EVENT DETAILS</vt:lpstr>
      <vt:lpstr>UTILIZATION EVENT DETAILS</vt:lpstr>
      <vt:lpstr>OVERVIEW SCREEN</vt:lpstr>
      <vt:lpstr>Specific Machine</vt:lpstr>
      <vt:lpstr>SPECIFIC MACHINE</vt:lpstr>
      <vt:lpstr>SPECIFIC MACHINE</vt:lpstr>
      <vt:lpstr>PERMISSIONS</vt:lpstr>
      <vt:lpstr>UTILIZATION Building Block Overview</vt:lpstr>
      <vt:lpstr>Building Block Projects for Utilization Application</vt:lpstr>
      <vt:lpstr>KEY PTCSC.Utilization ENTITIES and Notes</vt:lpstr>
      <vt:lpstr>UTILIZATION MODEL ENTITIES</vt:lpstr>
      <vt:lpstr>KEY PTCSC.UtilizationTWIMPL ENTITIES and Notes</vt:lpstr>
      <vt:lpstr>KEY PTCSC.UtilizationSQLIMPL ENTITIES and Notes</vt:lpstr>
      <vt:lpstr>UTILIZATION UI BUILDING BLOCK NOTE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istey, John</dc:creator>
  <cp:lastModifiedBy>Ristey, John</cp:lastModifiedBy>
  <cp:revision>1</cp:revision>
  <dcterms:created xsi:type="dcterms:W3CDTF">2022-11-03T17:09:46Z</dcterms:created>
  <dcterms:modified xsi:type="dcterms:W3CDTF">2023-12-12T21:21:46Z</dcterms:modified>
</cp:coreProperties>
</file>